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850" r:id="rId2"/>
    <p:sldId id="895" r:id="rId3"/>
    <p:sldId id="900" r:id="rId4"/>
    <p:sldId id="901" r:id="rId5"/>
    <p:sldId id="905" r:id="rId6"/>
    <p:sldId id="902" r:id="rId7"/>
    <p:sldId id="903" r:id="rId8"/>
    <p:sldId id="904" r:id="rId9"/>
    <p:sldId id="896" r:id="rId10"/>
    <p:sldId id="897" r:id="rId11"/>
  </p:sldIdLst>
  <p:sldSz cx="15360650" cy="8640763"/>
  <p:notesSz cx="6858000" cy="9144000"/>
  <p:custDataLst>
    <p:tags r:id="rId1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1pPr>
    <a:lvl2pPr marL="576072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2pPr>
    <a:lvl3pPr marL="1152144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3pPr>
    <a:lvl4pPr marL="1728216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4pPr>
    <a:lvl5pPr marL="2304288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5pPr>
    <a:lvl6pPr marL="2880360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6pPr>
    <a:lvl7pPr marL="3456432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7pPr>
    <a:lvl8pPr marL="4032504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8pPr>
    <a:lvl9pPr marL="4608576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808" userDrawn="1">
          <p15:clr>
            <a:srgbClr val="A4A3A4"/>
          </p15:clr>
        </p15:guide>
        <p15:guide id="2" pos="4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 Kühne" initials="JK" lastIdx="8" clrIdx="0">
    <p:extLst>
      <p:ext uri="{19B8F6BF-5375-455C-9EA6-DF929625EA0E}">
        <p15:presenceInfo xmlns:p15="http://schemas.microsoft.com/office/powerpoint/2012/main" userId="a23021b4de9f7cc1" providerId="Windows Live"/>
      </p:ext>
    </p:extLst>
  </p:cmAuthor>
  <p:cmAuthor id="2" name="Microsoft Office User" initials="MOU" lastIdx="4" clrIdx="1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3" name="Strobel" initials="S" lastIdx="1" clrIdx="2">
    <p:extLst>
      <p:ext uri="{19B8F6BF-5375-455C-9EA6-DF929625EA0E}">
        <p15:presenceInfo xmlns:p15="http://schemas.microsoft.com/office/powerpoint/2012/main" userId="Strob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9400"/>
    <a:srgbClr val="FFF4CE"/>
    <a:srgbClr val="FFCC99"/>
    <a:srgbClr val="F49400"/>
    <a:srgbClr val="C47900"/>
    <a:srgbClr val="E30061"/>
    <a:srgbClr val="96BE0D"/>
    <a:srgbClr val="0081C6"/>
    <a:srgbClr val="9A9FA3"/>
    <a:srgbClr val="C4CC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A4473D-2835-487A-A078-11A56E4D9961}" v="37" dt="2024-03-06T09:55:05.0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43" autoAdjust="0"/>
    <p:restoredTop sz="71119" autoAdjust="0"/>
  </p:normalViewPr>
  <p:slideViewPr>
    <p:cSldViewPr>
      <p:cViewPr varScale="1">
        <p:scale>
          <a:sx n="63" d="100"/>
          <a:sy n="63" d="100"/>
        </p:scale>
        <p:origin x="1230" y="60"/>
      </p:cViewPr>
      <p:guideLst>
        <p:guide orient="horz" pos="4808"/>
        <p:guide pos="4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51" d="100"/>
          <a:sy n="151" d="100"/>
        </p:scale>
        <p:origin x="-5712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ett mehler-bicher" userId="f7a4c83f7291193b" providerId="LiveId" clId="{BCE7A18C-1406-498B-A620-A0BC2AD73B8B}"/>
    <pc:docChg chg="custSel addSld delSld modSld">
      <pc:chgData name="anett mehler-bicher" userId="f7a4c83f7291193b" providerId="LiveId" clId="{BCE7A18C-1406-498B-A620-A0BC2AD73B8B}" dt="2019-02-05T17:48:18.066" v="5"/>
      <pc:docMkLst>
        <pc:docMk/>
      </pc:docMkLst>
      <pc:sldChg chg="add">
        <pc:chgData name="anett mehler-bicher" userId="f7a4c83f7291193b" providerId="LiveId" clId="{BCE7A18C-1406-498B-A620-A0BC2AD73B8B}" dt="2019-02-05T17:48:18.066" v="5"/>
        <pc:sldMkLst>
          <pc:docMk/>
          <pc:sldMk cId="1434378195" sldId="281"/>
        </pc:sldMkLst>
      </pc:sldChg>
      <pc:sldChg chg="add del">
        <pc:chgData name="anett mehler-bicher" userId="f7a4c83f7291193b" providerId="LiveId" clId="{BCE7A18C-1406-498B-A620-A0BC2AD73B8B}" dt="2019-02-05T17:47:51.505" v="3" actId="2696"/>
        <pc:sldMkLst>
          <pc:docMk/>
          <pc:sldMk cId="1802575271" sldId="281"/>
        </pc:sldMkLst>
      </pc:sldChg>
      <pc:sldChg chg="add del">
        <pc:chgData name="anett mehler-bicher" userId="f7a4c83f7291193b" providerId="LiveId" clId="{BCE7A18C-1406-498B-A620-A0BC2AD73B8B}" dt="2019-02-05T17:47:51.505" v="1" actId="2696"/>
        <pc:sldMkLst>
          <pc:docMk/>
          <pc:sldMk cId="1832264994" sldId="286"/>
        </pc:sldMkLst>
      </pc:sldChg>
      <pc:sldChg chg="add">
        <pc:chgData name="anett mehler-bicher" userId="f7a4c83f7291193b" providerId="LiveId" clId="{BCE7A18C-1406-498B-A620-A0BC2AD73B8B}" dt="2019-02-05T17:48:18.066" v="5"/>
        <pc:sldMkLst>
          <pc:docMk/>
          <pc:sldMk cId="2669086318" sldId="286"/>
        </pc:sldMkLst>
      </pc:sldChg>
      <pc:sldMasterChg chg="delSldLayout">
        <pc:chgData name="anett mehler-bicher" userId="f7a4c83f7291193b" providerId="LiveId" clId="{BCE7A18C-1406-498B-A620-A0BC2AD73B8B}" dt="2019-02-05T17:47:51.505" v="4" actId="2696"/>
        <pc:sldMasterMkLst>
          <pc:docMk/>
          <pc:sldMasterMk cId="0" sldId="2147483648"/>
        </pc:sldMasterMkLst>
        <pc:sldLayoutChg chg="del">
          <pc:chgData name="anett mehler-bicher" userId="f7a4c83f7291193b" providerId="LiveId" clId="{BCE7A18C-1406-498B-A620-A0BC2AD73B8B}" dt="2019-02-05T17:47:51.505" v="2" actId="2696"/>
          <pc:sldLayoutMkLst>
            <pc:docMk/>
            <pc:sldMasterMk cId="0" sldId="2147483648"/>
            <pc:sldLayoutMk cId="2634593124" sldId="2147483668"/>
          </pc:sldLayoutMkLst>
        </pc:sldLayoutChg>
        <pc:sldLayoutChg chg="del">
          <pc:chgData name="anett mehler-bicher" userId="f7a4c83f7291193b" providerId="LiveId" clId="{BCE7A18C-1406-498B-A620-A0BC2AD73B8B}" dt="2019-02-05T17:47:51.505" v="4" actId="2696"/>
          <pc:sldLayoutMkLst>
            <pc:docMk/>
            <pc:sldMasterMk cId="0" sldId="2147483648"/>
            <pc:sldLayoutMk cId="1192570535" sldId="2147483669"/>
          </pc:sldLayoutMkLst>
        </pc:sldLayoutChg>
      </pc:sldMasterChg>
    </pc:docChg>
  </pc:docChgLst>
  <pc:docChgLst>
    <pc:chgData name="anett mehler-bicher" userId="f7a4c83f7291193b" providerId="LiveId" clId="{390F7C49-35BB-4113-AA48-3851A3876BC5}"/>
    <pc:docChg chg="undo custSel addSld delSld modSld modMainMaster">
      <pc:chgData name="anett mehler-bicher" userId="f7a4c83f7291193b" providerId="LiveId" clId="{390F7C49-35BB-4113-AA48-3851A3876BC5}" dt="2019-02-05T17:38:51.896" v="205"/>
      <pc:docMkLst>
        <pc:docMk/>
      </pc:docMkLst>
      <pc:sldChg chg="del">
        <pc:chgData name="anett mehler-bicher" userId="f7a4c83f7291193b" providerId="LiveId" clId="{390F7C49-35BB-4113-AA48-3851A3876BC5}" dt="2019-02-05T17:32:49.317" v="79" actId="2696"/>
        <pc:sldMkLst>
          <pc:docMk/>
          <pc:sldMk cId="0" sldId="256"/>
        </pc:sldMkLst>
      </pc:sldChg>
      <pc:sldChg chg="del">
        <pc:chgData name="anett mehler-bicher" userId="f7a4c83f7291193b" providerId="LiveId" clId="{390F7C49-35BB-4113-AA48-3851A3876BC5}" dt="2019-02-05T17:32:09.708" v="46" actId="2696"/>
        <pc:sldMkLst>
          <pc:docMk/>
          <pc:sldMk cId="0" sldId="259"/>
        </pc:sldMkLst>
      </pc:sldChg>
      <pc:sldChg chg="del">
        <pc:chgData name="anett mehler-bicher" userId="f7a4c83f7291193b" providerId="LiveId" clId="{390F7C49-35BB-4113-AA48-3851A3876BC5}" dt="2019-02-05T17:32:49.317" v="78" actId="2696"/>
        <pc:sldMkLst>
          <pc:docMk/>
          <pc:sldMk cId="1563331521" sldId="275"/>
        </pc:sldMkLst>
      </pc:sldChg>
      <pc:sldChg chg="del">
        <pc:chgData name="anett mehler-bicher" userId="f7a4c83f7291193b" providerId="LiveId" clId="{390F7C49-35BB-4113-AA48-3851A3876BC5}" dt="2019-02-05T17:32:05.350" v="45" actId="2696"/>
        <pc:sldMkLst>
          <pc:docMk/>
          <pc:sldMk cId="2737981689" sldId="278"/>
        </pc:sldMkLst>
      </pc:sldChg>
      <pc:sldChg chg="del">
        <pc:chgData name="anett mehler-bicher" userId="f7a4c83f7291193b" providerId="LiveId" clId="{390F7C49-35BB-4113-AA48-3851A3876BC5}" dt="2019-02-05T17:32:51.620" v="83" actId="2696"/>
        <pc:sldMkLst>
          <pc:docMk/>
          <pc:sldMk cId="1802575271" sldId="281"/>
        </pc:sldMkLst>
      </pc:sldChg>
      <pc:sldChg chg="del">
        <pc:chgData name="anett mehler-bicher" userId="f7a4c83f7291193b" providerId="LiveId" clId="{390F7C49-35BB-4113-AA48-3851A3876BC5}" dt="2019-02-05T17:32:50.538" v="82" actId="2696"/>
        <pc:sldMkLst>
          <pc:docMk/>
          <pc:sldMk cId="1832264994" sldId="286"/>
        </pc:sldMkLst>
      </pc:sldChg>
      <pc:sldChg chg="del">
        <pc:chgData name="anett mehler-bicher" userId="f7a4c83f7291193b" providerId="LiveId" clId="{390F7C49-35BB-4113-AA48-3851A3876BC5}" dt="2019-02-05T17:32:49.301" v="77" actId="2696"/>
        <pc:sldMkLst>
          <pc:docMk/>
          <pc:sldMk cId="2048053756" sldId="288"/>
        </pc:sldMkLst>
      </pc:sldChg>
      <pc:sldChg chg="del">
        <pc:chgData name="anett mehler-bicher" userId="f7a4c83f7291193b" providerId="LiveId" clId="{390F7C49-35BB-4113-AA48-3851A3876BC5}" dt="2019-02-05T17:32:10.334" v="47" actId="2696"/>
        <pc:sldMkLst>
          <pc:docMk/>
          <pc:sldMk cId="239172918" sldId="289"/>
        </pc:sldMkLst>
      </pc:sldChg>
      <pc:sldChg chg="del">
        <pc:chgData name="anett mehler-bicher" userId="f7a4c83f7291193b" providerId="LiveId" clId="{390F7C49-35BB-4113-AA48-3851A3876BC5}" dt="2019-02-05T17:32:10.977" v="48" actId="2696"/>
        <pc:sldMkLst>
          <pc:docMk/>
          <pc:sldMk cId="936065133" sldId="290"/>
        </pc:sldMkLst>
      </pc:sldChg>
      <pc:sldChg chg="del">
        <pc:chgData name="anett mehler-bicher" userId="f7a4c83f7291193b" providerId="LiveId" clId="{390F7C49-35BB-4113-AA48-3851A3876BC5}" dt="2019-02-05T17:32:49.317" v="80" actId="2696"/>
        <pc:sldMkLst>
          <pc:docMk/>
          <pc:sldMk cId="137916596" sldId="291"/>
        </pc:sldMkLst>
      </pc:sldChg>
      <pc:sldChg chg="del">
        <pc:chgData name="anett mehler-bicher" userId="f7a4c83f7291193b" providerId="LiveId" clId="{390F7C49-35BB-4113-AA48-3851A3876BC5}" dt="2019-02-05T17:32:49.332" v="81" actId="2696"/>
        <pc:sldMkLst>
          <pc:docMk/>
          <pc:sldMk cId="1677968505" sldId="292"/>
        </pc:sldMkLst>
      </pc:sldChg>
      <pc:sldChg chg="del">
        <pc:chgData name="anett mehler-bicher" userId="f7a4c83f7291193b" providerId="LiveId" clId="{390F7C49-35BB-4113-AA48-3851A3876BC5}" dt="2019-02-05T17:32:49.238" v="55" actId="2696"/>
        <pc:sldMkLst>
          <pc:docMk/>
          <pc:sldMk cId="551796065" sldId="293"/>
        </pc:sldMkLst>
      </pc:sldChg>
      <pc:sldChg chg="del">
        <pc:chgData name="anett mehler-bicher" userId="f7a4c83f7291193b" providerId="LiveId" clId="{390F7C49-35BB-4113-AA48-3851A3876BC5}" dt="2019-02-05T17:32:13.207" v="51" actId="2696"/>
        <pc:sldMkLst>
          <pc:docMk/>
          <pc:sldMk cId="345736172" sldId="294"/>
        </pc:sldMkLst>
      </pc:sldChg>
      <pc:sldChg chg="del">
        <pc:chgData name="anett mehler-bicher" userId="f7a4c83f7291193b" providerId="LiveId" clId="{390F7C49-35BB-4113-AA48-3851A3876BC5}" dt="2019-02-05T17:32:13.863" v="52" actId="2696"/>
        <pc:sldMkLst>
          <pc:docMk/>
          <pc:sldMk cId="543441954" sldId="295"/>
        </pc:sldMkLst>
      </pc:sldChg>
      <pc:sldChg chg="del">
        <pc:chgData name="anett mehler-bicher" userId="f7a4c83f7291193b" providerId="LiveId" clId="{390F7C49-35BB-4113-AA48-3851A3876BC5}" dt="2019-02-05T17:32:14.505" v="53" actId="2696"/>
        <pc:sldMkLst>
          <pc:docMk/>
          <pc:sldMk cId="317819620" sldId="296"/>
        </pc:sldMkLst>
      </pc:sldChg>
      <pc:sldChg chg="del">
        <pc:chgData name="anett mehler-bicher" userId="f7a4c83f7291193b" providerId="LiveId" clId="{390F7C49-35BB-4113-AA48-3851A3876BC5}" dt="2019-02-05T17:32:15.369" v="54" actId="2696"/>
        <pc:sldMkLst>
          <pc:docMk/>
          <pc:sldMk cId="911193600" sldId="297"/>
        </pc:sldMkLst>
      </pc:sldChg>
      <pc:sldChg chg="del">
        <pc:chgData name="anett mehler-bicher" userId="f7a4c83f7291193b" providerId="LiveId" clId="{390F7C49-35BB-4113-AA48-3851A3876BC5}" dt="2019-02-05T17:32:49.238" v="56" actId="2696"/>
        <pc:sldMkLst>
          <pc:docMk/>
          <pc:sldMk cId="1442486536" sldId="298"/>
        </pc:sldMkLst>
      </pc:sldChg>
      <pc:sldChg chg="del">
        <pc:chgData name="anett mehler-bicher" userId="f7a4c83f7291193b" providerId="LiveId" clId="{390F7C49-35BB-4113-AA48-3851A3876BC5}" dt="2019-02-05T17:32:49.238" v="58" actId="2696"/>
        <pc:sldMkLst>
          <pc:docMk/>
          <pc:sldMk cId="1901672786" sldId="299"/>
        </pc:sldMkLst>
      </pc:sldChg>
      <pc:sldChg chg="del">
        <pc:chgData name="anett mehler-bicher" userId="f7a4c83f7291193b" providerId="LiveId" clId="{390F7C49-35BB-4113-AA48-3851A3876BC5}" dt="2019-02-05T17:32:49.254" v="60" actId="2696"/>
        <pc:sldMkLst>
          <pc:docMk/>
          <pc:sldMk cId="666736383" sldId="300"/>
        </pc:sldMkLst>
      </pc:sldChg>
      <pc:sldChg chg="del">
        <pc:chgData name="anett mehler-bicher" userId="f7a4c83f7291193b" providerId="LiveId" clId="{390F7C49-35BB-4113-AA48-3851A3876BC5}" dt="2019-02-05T17:32:49.254" v="61" actId="2696"/>
        <pc:sldMkLst>
          <pc:docMk/>
          <pc:sldMk cId="1550266409" sldId="301"/>
        </pc:sldMkLst>
      </pc:sldChg>
      <pc:sldChg chg="del">
        <pc:chgData name="anett mehler-bicher" userId="f7a4c83f7291193b" providerId="LiveId" clId="{390F7C49-35BB-4113-AA48-3851A3876BC5}" dt="2019-02-05T17:32:49.254" v="62" actId="2696"/>
        <pc:sldMkLst>
          <pc:docMk/>
          <pc:sldMk cId="1243314725" sldId="302"/>
        </pc:sldMkLst>
      </pc:sldChg>
      <pc:sldChg chg="del">
        <pc:chgData name="anett mehler-bicher" userId="f7a4c83f7291193b" providerId="LiveId" clId="{390F7C49-35BB-4113-AA48-3851A3876BC5}" dt="2019-02-05T17:32:49.254" v="63" actId="2696"/>
        <pc:sldMkLst>
          <pc:docMk/>
          <pc:sldMk cId="1280933363" sldId="303"/>
        </pc:sldMkLst>
      </pc:sldChg>
      <pc:sldChg chg="del">
        <pc:chgData name="anett mehler-bicher" userId="f7a4c83f7291193b" providerId="LiveId" clId="{390F7C49-35BB-4113-AA48-3851A3876BC5}" dt="2019-02-05T17:32:49.254" v="64" actId="2696"/>
        <pc:sldMkLst>
          <pc:docMk/>
          <pc:sldMk cId="9152062" sldId="304"/>
        </pc:sldMkLst>
      </pc:sldChg>
      <pc:sldChg chg="del">
        <pc:chgData name="anett mehler-bicher" userId="f7a4c83f7291193b" providerId="LiveId" clId="{390F7C49-35BB-4113-AA48-3851A3876BC5}" dt="2019-02-05T17:32:49.270" v="66" actId="2696"/>
        <pc:sldMkLst>
          <pc:docMk/>
          <pc:sldMk cId="170472025" sldId="306"/>
        </pc:sldMkLst>
      </pc:sldChg>
      <pc:sldChg chg="del">
        <pc:chgData name="anett mehler-bicher" userId="f7a4c83f7291193b" providerId="LiveId" clId="{390F7C49-35BB-4113-AA48-3851A3876BC5}" dt="2019-02-05T17:32:49.270" v="67" actId="2696"/>
        <pc:sldMkLst>
          <pc:docMk/>
          <pc:sldMk cId="1578990582" sldId="307"/>
        </pc:sldMkLst>
      </pc:sldChg>
      <pc:sldChg chg="del">
        <pc:chgData name="anett mehler-bicher" userId="f7a4c83f7291193b" providerId="LiveId" clId="{390F7C49-35BB-4113-AA48-3851A3876BC5}" dt="2019-02-05T17:32:49.270" v="68" actId="2696"/>
        <pc:sldMkLst>
          <pc:docMk/>
          <pc:sldMk cId="1257903210" sldId="308"/>
        </pc:sldMkLst>
      </pc:sldChg>
      <pc:sldChg chg="del">
        <pc:chgData name="anett mehler-bicher" userId="f7a4c83f7291193b" providerId="LiveId" clId="{390F7C49-35BB-4113-AA48-3851A3876BC5}" dt="2019-02-05T17:32:49.270" v="69" actId="2696"/>
        <pc:sldMkLst>
          <pc:docMk/>
          <pc:sldMk cId="1231963697" sldId="309"/>
        </pc:sldMkLst>
      </pc:sldChg>
      <pc:sldChg chg="del">
        <pc:chgData name="anett mehler-bicher" userId="f7a4c83f7291193b" providerId="LiveId" clId="{390F7C49-35BB-4113-AA48-3851A3876BC5}" dt="2019-02-05T17:32:49.285" v="70" actId="2696"/>
        <pc:sldMkLst>
          <pc:docMk/>
          <pc:sldMk cId="233595032" sldId="310"/>
        </pc:sldMkLst>
      </pc:sldChg>
      <pc:sldChg chg="del">
        <pc:chgData name="anett mehler-bicher" userId="f7a4c83f7291193b" providerId="LiveId" clId="{390F7C49-35BB-4113-AA48-3851A3876BC5}" dt="2019-02-05T17:32:49.285" v="71" actId="2696"/>
        <pc:sldMkLst>
          <pc:docMk/>
          <pc:sldMk cId="1010743707" sldId="311"/>
        </pc:sldMkLst>
      </pc:sldChg>
      <pc:sldChg chg="del">
        <pc:chgData name="anett mehler-bicher" userId="f7a4c83f7291193b" providerId="LiveId" clId="{390F7C49-35BB-4113-AA48-3851A3876BC5}" dt="2019-02-05T17:32:49.285" v="72" actId="2696"/>
        <pc:sldMkLst>
          <pc:docMk/>
          <pc:sldMk cId="23830944" sldId="312"/>
        </pc:sldMkLst>
      </pc:sldChg>
      <pc:sldChg chg="del">
        <pc:chgData name="anett mehler-bicher" userId="f7a4c83f7291193b" providerId="LiveId" clId="{390F7C49-35BB-4113-AA48-3851A3876BC5}" dt="2019-02-05T17:32:49.301" v="74" actId="2696"/>
        <pc:sldMkLst>
          <pc:docMk/>
          <pc:sldMk cId="1016364700" sldId="313"/>
        </pc:sldMkLst>
      </pc:sldChg>
      <pc:sldChg chg="del">
        <pc:chgData name="anett mehler-bicher" userId="f7a4c83f7291193b" providerId="LiveId" clId="{390F7C49-35BB-4113-AA48-3851A3876BC5}" dt="2019-02-05T17:32:49.301" v="76" actId="2696"/>
        <pc:sldMkLst>
          <pc:docMk/>
          <pc:sldMk cId="931278000" sldId="314"/>
        </pc:sldMkLst>
      </pc:sldChg>
      <pc:sldChg chg="del">
        <pc:chgData name="anett mehler-bicher" userId="f7a4c83f7291193b" providerId="LiveId" clId="{390F7C49-35BB-4113-AA48-3851A3876BC5}" dt="2019-02-05T17:32:49.301" v="73" actId="2696"/>
        <pc:sldMkLst>
          <pc:docMk/>
          <pc:sldMk cId="1377289448" sldId="315"/>
        </pc:sldMkLst>
      </pc:sldChg>
      <pc:sldChg chg="del">
        <pc:chgData name="anett mehler-bicher" userId="f7a4c83f7291193b" providerId="LiveId" clId="{390F7C49-35BB-4113-AA48-3851A3876BC5}" dt="2019-02-05T17:32:49.301" v="75" actId="2696"/>
        <pc:sldMkLst>
          <pc:docMk/>
          <pc:sldMk cId="1453518328" sldId="316"/>
        </pc:sldMkLst>
      </pc:sldChg>
      <pc:sldChg chg="del">
        <pc:chgData name="anett mehler-bicher" userId="f7a4c83f7291193b" providerId="LiveId" clId="{390F7C49-35BB-4113-AA48-3851A3876BC5}" dt="2019-02-05T17:32:11.824" v="49" actId="2696"/>
        <pc:sldMkLst>
          <pc:docMk/>
          <pc:sldMk cId="3615872781" sldId="317"/>
        </pc:sldMkLst>
      </pc:sldChg>
      <pc:sldChg chg="del">
        <pc:chgData name="anett mehler-bicher" userId="f7a4c83f7291193b" providerId="LiveId" clId="{390F7C49-35BB-4113-AA48-3851A3876BC5}" dt="2019-02-05T17:32:12.514" v="50" actId="2696"/>
        <pc:sldMkLst>
          <pc:docMk/>
          <pc:sldMk cId="2895831053" sldId="318"/>
        </pc:sldMkLst>
      </pc:sldChg>
      <pc:sldChg chg="del">
        <pc:chgData name="anett mehler-bicher" userId="f7a4c83f7291193b" providerId="LiveId" clId="{390F7C49-35BB-4113-AA48-3851A3876BC5}" dt="2019-02-05T17:32:49.270" v="65" actId="2696"/>
        <pc:sldMkLst>
          <pc:docMk/>
          <pc:sldMk cId="2530129126" sldId="328"/>
        </pc:sldMkLst>
      </pc:sldChg>
      <pc:sldChg chg="del">
        <pc:chgData name="anett mehler-bicher" userId="f7a4c83f7291193b" providerId="LiveId" clId="{390F7C49-35BB-4113-AA48-3851A3876BC5}" dt="2019-02-05T17:32:49.238" v="57" actId="2696"/>
        <pc:sldMkLst>
          <pc:docMk/>
          <pc:sldMk cId="1156862387" sldId="330"/>
        </pc:sldMkLst>
      </pc:sldChg>
      <pc:sldChg chg="del">
        <pc:chgData name="anett mehler-bicher" userId="f7a4c83f7291193b" providerId="LiveId" clId="{390F7C49-35BB-4113-AA48-3851A3876BC5}" dt="2019-02-05T17:32:49.254" v="59" actId="2696"/>
        <pc:sldMkLst>
          <pc:docMk/>
          <pc:sldMk cId="18237887" sldId="331"/>
        </pc:sldMkLst>
      </pc:sldChg>
      <pc:sldChg chg="modSp add">
        <pc:chgData name="anett mehler-bicher" userId="f7a4c83f7291193b" providerId="LiveId" clId="{390F7C49-35BB-4113-AA48-3851A3876BC5}" dt="2019-02-05T17:37:38.752" v="186" actId="20577"/>
        <pc:sldMkLst>
          <pc:docMk/>
          <pc:sldMk cId="3989664488" sldId="563"/>
        </pc:sldMkLst>
        <pc:spChg chg="mod">
          <ac:chgData name="anett mehler-bicher" userId="f7a4c83f7291193b" providerId="LiveId" clId="{390F7C49-35BB-4113-AA48-3851A3876BC5}" dt="2019-02-05T17:37:38.752" v="186" actId="20577"/>
          <ac:spMkLst>
            <pc:docMk/>
            <pc:sldMk cId="3989664488" sldId="563"/>
            <ac:spMk id="3" creationId="{00000000-0000-0000-0000-000000000000}"/>
          </ac:spMkLst>
        </pc:spChg>
        <pc:spChg chg="mod">
          <ac:chgData name="anett mehler-bicher" userId="f7a4c83f7291193b" providerId="LiveId" clId="{390F7C49-35BB-4113-AA48-3851A3876BC5}" dt="2019-02-05T17:37:17.159" v="157" actId="20577"/>
          <ac:spMkLst>
            <pc:docMk/>
            <pc:sldMk cId="3989664488" sldId="563"/>
            <ac:spMk id="4" creationId="{00000000-0000-0000-0000-000000000000}"/>
          </ac:spMkLst>
        </pc:spChg>
        <pc:spChg chg="mod">
          <ac:chgData name="anett mehler-bicher" userId="f7a4c83f7291193b" providerId="LiveId" clId="{390F7C49-35BB-4113-AA48-3851A3876BC5}" dt="2019-02-05T17:37:10.778" v="140" actId="20577"/>
          <ac:spMkLst>
            <pc:docMk/>
            <pc:sldMk cId="3989664488" sldId="563"/>
            <ac:spMk id="5" creationId="{00000000-0000-0000-0000-000000000000}"/>
          </ac:spMkLst>
        </pc:spChg>
      </pc:sldChg>
      <pc:sldChg chg="addSp delSp modSp add">
        <pc:chgData name="anett mehler-bicher" userId="f7a4c83f7291193b" providerId="LiveId" clId="{390F7C49-35BB-4113-AA48-3851A3876BC5}" dt="2019-02-05T17:38:51.896" v="205"/>
        <pc:sldMkLst>
          <pc:docMk/>
          <pc:sldMk cId="2478160398" sldId="588"/>
        </pc:sldMkLst>
        <pc:spChg chg="mod">
          <ac:chgData name="anett mehler-bicher" userId="f7a4c83f7291193b" providerId="LiveId" clId="{390F7C49-35BB-4113-AA48-3851A3876BC5}" dt="2019-02-05T17:38:51.896" v="205"/>
          <ac:spMkLst>
            <pc:docMk/>
            <pc:sldMk cId="2478160398" sldId="588"/>
            <ac:spMk id="9" creationId="{00000000-0000-0000-0000-000000000000}"/>
          </ac:spMkLst>
        </pc:spChg>
        <pc:picChg chg="del">
          <ac:chgData name="anett mehler-bicher" userId="f7a4c83f7291193b" providerId="LiveId" clId="{390F7C49-35BB-4113-AA48-3851A3876BC5}" dt="2019-02-05T17:36:56.053" v="122" actId="478"/>
          <ac:picMkLst>
            <pc:docMk/>
            <pc:sldMk cId="2478160398" sldId="588"/>
            <ac:picMk id="2" creationId="{00000000-0000-0000-0000-000000000000}"/>
          </ac:picMkLst>
        </pc:picChg>
        <pc:picChg chg="add mod">
          <ac:chgData name="anett mehler-bicher" userId="f7a4c83f7291193b" providerId="LiveId" clId="{390F7C49-35BB-4113-AA48-3851A3876BC5}" dt="2019-02-05T17:38:51.896" v="205"/>
          <ac:picMkLst>
            <pc:docMk/>
            <pc:sldMk cId="2478160398" sldId="588"/>
            <ac:picMk id="4" creationId="{7A416062-70B3-4BC4-9F39-8AB48AEC7CA0}"/>
          </ac:picMkLst>
        </pc:picChg>
        <pc:picChg chg="del">
          <ac:chgData name="anett mehler-bicher" userId="f7a4c83f7291193b" providerId="LiveId" clId="{390F7C49-35BB-4113-AA48-3851A3876BC5}" dt="2019-02-05T17:30:58.695" v="1" actId="478"/>
          <ac:picMkLst>
            <pc:docMk/>
            <pc:sldMk cId="2478160398" sldId="588"/>
            <ac:picMk id="6" creationId="{00000000-0000-0000-0000-000000000000}"/>
          </ac:picMkLst>
        </pc:picChg>
      </pc:sldChg>
      <pc:sldMasterChg chg="addSp delSp delSldLayout modSldLayout">
        <pc:chgData name="anett mehler-bicher" userId="f7a4c83f7291193b" providerId="LiveId" clId="{390F7C49-35BB-4113-AA48-3851A3876BC5}" dt="2019-02-05T17:38:51.896" v="205"/>
        <pc:sldMasterMkLst>
          <pc:docMk/>
          <pc:sldMasterMk cId="0" sldId="2147483648"/>
        </pc:sldMasterMkLst>
        <pc:spChg chg="del">
          <ac:chgData name="anett mehler-bicher" userId="f7a4c83f7291193b" providerId="LiveId" clId="{390F7C49-35BB-4113-AA48-3851A3876BC5}" dt="2019-02-05T17:34:10.742" v="86" actId="478"/>
          <ac:spMkLst>
            <pc:docMk/>
            <pc:sldMasterMk cId="0" sldId="2147483648"/>
            <ac:spMk id="5" creationId="{00000000-0000-0000-0000-000000000000}"/>
          </ac:spMkLst>
        </pc:spChg>
        <pc:spChg chg="del">
          <ac:chgData name="anett mehler-bicher" userId="f7a4c83f7291193b" providerId="LiveId" clId="{390F7C49-35BB-4113-AA48-3851A3876BC5}" dt="2019-02-05T17:36:12.103" v="117" actId="478"/>
          <ac:spMkLst>
            <pc:docMk/>
            <pc:sldMasterMk cId="0" sldId="2147483648"/>
            <ac:spMk id="1026" creationId="{00000000-0000-0000-0000-000000000000}"/>
          </ac:spMkLst>
        </pc:spChg>
        <pc:picChg chg="add del">
          <ac:chgData name="anett mehler-bicher" userId="f7a4c83f7291193b" providerId="LiveId" clId="{390F7C49-35BB-4113-AA48-3851A3876BC5}" dt="2019-02-05T17:36:20.806" v="119"/>
          <ac:picMkLst>
            <pc:docMk/>
            <pc:sldMasterMk cId="0" sldId="2147483648"/>
            <ac:picMk id="4" creationId="{20EB4AA9-8D4A-45DE-9F30-70EB777E72FC}"/>
          </ac:picMkLst>
        </pc:picChg>
        <pc:picChg chg="add del">
          <ac:chgData name="anett mehler-bicher" userId="f7a4c83f7291193b" providerId="LiveId" clId="{390F7C49-35BB-4113-AA48-3851A3876BC5}" dt="2019-02-05T17:36:20.806" v="119"/>
          <ac:picMkLst>
            <pc:docMk/>
            <pc:sldMasterMk cId="0" sldId="2147483648"/>
            <ac:picMk id="6" creationId="{441D47F0-DF1A-4A8E-8813-C02B9391408C}"/>
          </ac:picMkLst>
        </pc:picChg>
        <pc:sldLayoutChg chg="del">
          <pc:chgData name="anett mehler-bicher" userId="f7a4c83f7291193b" providerId="LiveId" clId="{390F7C49-35BB-4113-AA48-3851A3876BC5}" dt="2019-02-05T17:34:15.775" v="89" actId="2696"/>
          <pc:sldLayoutMkLst>
            <pc:docMk/>
            <pc:sldMasterMk cId="0" sldId="2147483648"/>
            <pc:sldLayoutMk cId="0" sldId="2147483649"/>
          </pc:sldLayoutMkLst>
        </pc:sldLayoutChg>
        <pc:sldLayoutChg chg="del">
          <pc:chgData name="anett mehler-bicher" userId="f7a4c83f7291193b" providerId="LiveId" clId="{390F7C49-35BB-4113-AA48-3851A3876BC5}" dt="2019-02-05T17:34:19.067" v="92" actId="2696"/>
          <pc:sldLayoutMkLst>
            <pc:docMk/>
            <pc:sldMasterMk cId="0" sldId="2147483648"/>
            <pc:sldLayoutMk cId="4274941863" sldId="2147483650"/>
          </pc:sldLayoutMkLst>
        </pc:sldLayoutChg>
        <pc:sldLayoutChg chg="del">
          <pc:chgData name="anett mehler-bicher" userId="f7a4c83f7291193b" providerId="LiveId" clId="{390F7C49-35BB-4113-AA48-3851A3876BC5}" dt="2019-02-05T17:34:20.164" v="93" actId="2696"/>
          <pc:sldLayoutMkLst>
            <pc:docMk/>
            <pc:sldMasterMk cId="0" sldId="2147483648"/>
            <pc:sldLayoutMk cId="632888010" sldId="2147483652"/>
          </pc:sldLayoutMkLst>
        </pc:sldLayoutChg>
        <pc:sldLayoutChg chg="del">
          <pc:chgData name="anett mehler-bicher" userId="f7a4c83f7291193b" providerId="LiveId" clId="{390F7C49-35BB-4113-AA48-3851A3876BC5}" dt="2019-02-05T17:34:21.638" v="94" actId="2696"/>
          <pc:sldLayoutMkLst>
            <pc:docMk/>
            <pc:sldMasterMk cId="0" sldId="2147483648"/>
            <pc:sldLayoutMk cId="4049534357" sldId="2147483654"/>
          </pc:sldLayoutMkLst>
        </pc:sldLayoutChg>
        <pc:sldLayoutChg chg="del">
          <pc:chgData name="anett mehler-bicher" userId="f7a4c83f7291193b" providerId="LiveId" clId="{390F7C49-35BB-4113-AA48-3851A3876BC5}" dt="2019-02-05T17:34:22.689" v="95" actId="2696"/>
          <pc:sldLayoutMkLst>
            <pc:docMk/>
            <pc:sldMasterMk cId="0" sldId="2147483648"/>
            <pc:sldLayoutMk cId="2571912849" sldId="2147483660"/>
          </pc:sldLayoutMkLst>
        </pc:sldLayoutChg>
        <pc:sldLayoutChg chg="del">
          <pc:chgData name="anett mehler-bicher" userId="f7a4c83f7291193b" providerId="LiveId" clId="{390F7C49-35BB-4113-AA48-3851A3876BC5}" dt="2019-02-05T17:34:17.969" v="91" actId="2696"/>
          <pc:sldLayoutMkLst>
            <pc:docMk/>
            <pc:sldMasterMk cId="0" sldId="2147483648"/>
            <pc:sldLayoutMk cId="262593858" sldId="2147483662"/>
          </pc:sldLayoutMkLst>
        </pc:sldLayoutChg>
        <pc:sldLayoutChg chg="del">
          <pc:chgData name="anett mehler-bicher" userId="f7a4c83f7291193b" providerId="LiveId" clId="{390F7C49-35BB-4113-AA48-3851A3876BC5}" dt="2019-02-05T17:34:17.012" v="90" actId="2696"/>
          <pc:sldLayoutMkLst>
            <pc:docMk/>
            <pc:sldMasterMk cId="0" sldId="2147483648"/>
            <pc:sldLayoutMk cId="1099102625" sldId="2147483663"/>
          </pc:sldLayoutMkLst>
        </pc:sldLayoutChg>
        <pc:sldLayoutChg chg="del">
          <pc:chgData name="anett mehler-bicher" userId="f7a4c83f7291193b" providerId="LiveId" clId="{390F7C49-35BB-4113-AA48-3851A3876BC5}" dt="2019-02-05T17:34:14.896" v="87" actId="2696"/>
          <pc:sldLayoutMkLst>
            <pc:docMk/>
            <pc:sldMasterMk cId="0" sldId="2147483648"/>
            <pc:sldLayoutMk cId="4272467442" sldId="2147483664"/>
          </pc:sldLayoutMkLst>
        </pc:sldLayoutChg>
        <pc:sldLayoutChg chg="del">
          <pc:chgData name="anett mehler-bicher" userId="f7a4c83f7291193b" providerId="LiveId" clId="{390F7C49-35BB-4113-AA48-3851A3876BC5}" dt="2019-02-05T17:34:15.303" v="88" actId="2696"/>
          <pc:sldLayoutMkLst>
            <pc:docMk/>
            <pc:sldMasterMk cId="0" sldId="2147483648"/>
            <pc:sldLayoutMk cId="312749244" sldId="2147483665"/>
          </pc:sldLayoutMkLst>
        </pc:sldLayoutChg>
        <pc:sldLayoutChg chg="addSp delSp modSp">
          <pc:chgData name="anett mehler-bicher" userId="f7a4c83f7291193b" providerId="LiveId" clId="{390F7C49-35BB-4113-AA48-3851A3876BC5}" dt="2019-02-05T17:38:51.896" v="205"/>
          <pc:sldLayoutMkLst>
            <pc:docMk/>
            <pc:sldMasterMk cId="0" sldId="2147483648"/>
            <pc:sldLayoutMk cId="1630509165" sldId="2147483666"/>
          </pc:sldLayoutMkLst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5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6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9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13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14" creationId="{00000000-0000-0000-0000-000000000000}"/>
            </ac:spMkLst>
          </pc:spChg>
          <pc:picChg chg="del mod">
            <ac:chgData name="anett mehler-bicher" userId="f7a4c83f7291193b" providerId="LiveId" clId="{390F7C49-35BB-4113-AA48-3851A3876BC5}" dt="2019-02-05T17:34:54.442" v="97" actId="478"/>
            <ac:picMkLst>
              <pc:docMk/>
              <pc:sldMasterMk cId="0" sldId="2147483648"/>
              <pc:sldLayoutMk cId="1630509165" sldId="2147483666"/>
              <ac:picMk id="8" creationId="{00000000-0000-0000-0000-000000000000}"/>
            </ac:picMkLst>
          </pc:pic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1630509165" sldId="2147483666"/>
              <ac:picMk id="10" creationId="{D3B92264-F32C-4DC0-8C7C-8003113AE557}"/>
            </ac:picMkLst>
          </pc:picChg>
        </pc:sldLayoutChg>
        <pc:sldLayoutChg chg="addSp delSp modSp">
          <pc:chgData name="anett mehler-bicher" userId="f7a4c83f7291193b" providerId="LiveId" clId="{390F7C49-35BB-4113-AA48-3851A3876BC5}" dt="2019-02-05T17:38:51.896" v="205"/>
          <pc:sldLayoutMkLst>
            <pc:docMk/>
            <pc:sldMasterMk cId="0" sldId="2147483648"/>
            <pc:sldLayoutMk cId="2773406798" sldId="2147483667"/>
          </pc:sldLayoutMkLst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5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6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9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13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14" creationId="{00000000-0000-0000-0000-000000000000}"/>
            </ac:spMkLst>
          </pc:sp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2773406798" sldId="2147483667"/>
              <ac:picMk id="8" creationId="{5C4F37F6-9267-457F-B23B-4395DFAC601F}"/>
            </ac:picMkLst>
          </pc:picChg>
          <pc:picChg chg="del">
            <ac:chgData name="anett mehler-bicher" userId="f7a4c83f7291193b" providerId="LiveId" clId="{390F7C49-35BB-4113-AA48-3851A3876BC5}" dt="2019-02-05T17:36:31.154" v="120" actId="478"/>
            <ac:picMkLst>
              <pc:docMk/>
              <pc:sldMasterMk cId="0" sldId="2147483648"/>
              <pc:sldLayoutMk cId="2773406798" sldId="2147483667"/>
              <ac:picMk id="10" creationId="{D3B92264-F32C-4DC0-8C7C-8003113AE557}"/>
            </ac:picMkLst>
          </pc:pic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2773406798" sldId="2147483667"/>
              <ac:picMk id="11" creationId="{C6C468C4-8F7E-4266-BEDC-366F9AEF6C44}"/>
            </ac:picMkLst>
          </pc:picChg>
        </pc:sldLayoutChg>
      </pc:sldMasterChg>
    </pc:docChg>
  </pc:docChgLst>
  <pc:docChgLst>
    <pc:chgData name="anett mehler-bicher" userId="f7a4c83f7291193b" providerId="LiveId" clId="{48F21275-87A7-451B-9941-38A701B61EFE}"/>
    <pc:docChg chg="modSld">
      <pc:chgData name="anett mehler-bicher" userId="f7a4c83f7291193b" providerId="LiveId" clId="{48F21275-87A7-451B-9941-38A701B61EFE}" dt="2019-02-05T17:40:28.672" v="11" actId="20577"/>
      <pc:docMkLst>
        <pc:docMk/>
      </pc:docMkLst>
      <pc:sldChg chg="modSp">
        <pc:chgData name="anett mehler-bicher" userId="f7a4c83f7291193b" providerId="LiveId" clId="{48F21275-87A7-451B-9941-38A701B61EFE}" dt="2019-02-05T17:40:28.672" v="11" actId="20577"/>
        <pc:sldMkLst>
          <pc:docMk/>
          <pc:sldMk cId="2478160398" sldId="588"/>
        </pc:sldMkLst>
        <pc:spChg chg="mod">
          <ac:chgData name="anett mehler-bicher" userId="f7a4c83f7291193b" providerId="LiveId" clId="{48F21275-87A7-451B-9941-38A701B61EFE}" dt="2019-02-05T17:40:28.672" v="11" actId="20577"/>
          <ac:spMkLst>
            <pc:docMk/>
            <pc:sldMk cId="2478160398" sldId="588"/>
            <ac:spMk id="9" creationId="{00000000-0000-0000-0000-000000000000}"/>
          </ac:spMkLst>
        </pc:spChg>
      </pc:sldChg>
    </pc:docChg>
  </pc:docChgLst>
  <pc:docChgLst>
    <pc:chgData name="anett mehler-bicher" userId="f7a4c83f7291193b" providerId="LiveId" clId="{66E1B3E5-B2C1-4B5B-83D1-6FBF4ED6258D}"/>
    <pc:docChg chg="custSel delSld modSld sldOrd modMainMaster">
      <pc:chgData name="anett mehler-bicher" userId="f7a4c83f7291193b" providerId="LiveId" clId="{66E1B3E5-B2C1-4B5B-83D1-6FBF4ED6258D}" dt="2019-02-05T17:52:15.523" v="79" actId="20577"/>
      <pc:docMkLst>
        <pc:docMk/>
      </pc:docMkLst>
      <pc:sldChg chg="addSp modSp ord">
        <pc:chgData name="anett mehler-bicher" userId="f7a4c83f7291193b" providerId="LiveId" clId="{66E1B3E5-B2C1-4B5B-83D1-6FBF4ED6258D}" dt="2019-02-05T17:51:36.119" v="74" actId="20577"/>
        <pc:sldMkLst>
          <pc:docMk/>
          <pc:sldMk cId="1434378195" sldId="281"/>
        </pc:sldMkLst>
        <pc:spChg chg="add mod">
          <ac:chgData name="anett mehler-bicher" userId="f7a4c83f7291193b" providerId="LiveId" clId="{66E1B3E5-B2C1-4B5B-83D1-6FBF4ED6258D}" dt="2019-02-05T17:51:36.119" v="74" actId="20577"/>
          <ac:spMkLst>
            <pc:docMk/>
            <pc:sldMk cId="1434378195" sldId="281"/>
            <ac:spMk id="2" creationId="{EB6A7402-03EF-4CEE-8628-24EBF2D7EB5A}"/>
          </ac:spMkLst>
        </pc:spChg>
      </pc:sldChg>
      <pc:sldChg chg="del">
        <pc:chgData name="anett mehler-bicher" userId="f7a4c83f7291193b" providerId="LiveId" clId="{66E1B3E5-B2C1-4B5B-83D1-6FBF4ED6258D}" dt="2019-02-05T17:49:42.785" v="2" actId="2696"/>
        <pc:sldMkLst>
          <pc:docMk/>
          <pc:sldMk cId="2669086318" sldId="286"/>
        </pc:sldMkLst>
      </pc:sldChg>
      <pc:sldChg chg="ord">
        <pc:chgData name="anett mehler-bicher" userId="f7a4c83f7291193b" providerId="LiveId" clId="{66E1B3E5-B2C1-4B5B-83D1-6FBF4ED6258D}" dt="2019-02-05T17:51:43.818" v="75"/>
        <pc:sldMkLst>
          <pc:docMk/>
          <pc:sldMk cId="2478160398" sldId="588"/>
        </pc:sldMkLst>
      </pc:sldChg>
      <pc:sldMasterChg chg="delSldLayout modSldLayout">
        <pc:chgData name="anett mehler-bicher" userId="f7a4c83f7291193b" providerId="LiveId" clId="{66E1B3E5-B2C1-4B5B-83D1-6FBF4ED6258D}" dt="2019-02-05T17:52:15.523" v="79" actId="20577"/>
        <pc:sldMasterMkLst>
          <pc:docMk/>
          <pc:sldMasterMk cId="0" sldId="2147483648"/>
        </pc:sldMasterMkLst>
        <pc:sldLayoutChg chg="modSp">
          <pc:chgData name="anett mehler-bicher" userId="f7a4c83f7291193b" providerId="LiveId" clId="{66E1B3E5-B2C1-4B5B-83D1-6FBF4ED6258D}" dt="2019-02-05T17:52:15.523" v="79" actId="20577"/>
          <pc:sldLayoutMkLst>
            <pc:docMk/>
            <pc:sldMasterMk cId="0" sldId="2147483648"/>
            <pc:sldLayoutMk cId="1630509165" sldId="2147483666"/>
          </pc:sldLayoutMkLst>
          <pc:spChg chg="mod">
            <ac:chgData name="anett mehler-bicher" userId="f7a4c83f7291193b" providerId="LiveId" clId="{66E1B3E5-B2C1-4B5B-83D1-6FBF4ED6258D}" dt="2019-02-05T17:52:15.523" v="79" actId="20577"/>
            <ac:spMkLst>
              <pc:docMk/>
              <pc:sldMasterMk cId="0" sldId="2147483648"/>
              <pc:sldLayoutMk cId="1630509165" sldId="2147483666"/>
              <ac:spMk id="5" creationId="{00000000-0000-0000-0000-000000000000}"/>
            </ac:spMkLst>
          </pc:spChg>
        </pc:sldLayoutChg>
        <pc:sldLayoutChg chg="del">
          <pc:chgData name="anett mehler-bicher" userId="f7a4c83f7291193b" providerId="LiveId" clId="{66E1B3E5-B2C1-4B5B-83D1-6FBF4ED6258D}" dt="2019-02-05T17:49:42.785" v="3" actId="2696"/>
          <pc:sldLayoutMkLst>
            <pc:docMk/>
            <pc:sldMasterMk cId="0" sldId="2147483648"/>
            <pc:sldLayoutMk cId="2715120646" sldId="2147483668"/>
          </pc:sldLayoutMkLst>
        </pc:sldLayoutChg>
        <pc:sldLayoutChg chg="addSp delSp modSp">
          <pc:chgData name="anett mehler-bicher" userId="f7a4c83f7291193b" providerId="LiveId" clId="{66E1B3E5-B2C1-4B5B-83D1-6FBF4ED6258D}" dt="2019-02-05T17:51:01.811" v="9"/>
          <pc:sldLayoutMkLst>
            <pc:docMk/>
            <pc:sldMasterMk cId="0" sldId="2147483648"/>
            <pc:sldLayoutMk cId="2985574845" sldId="2147483669"/>
          </pc:sldLayoutMkLst>
          <pc:spChg chg="mod">
            <ac:chgData name="anett mehler-bicher" userId="f7a4c83f7291193b" providerId="LiveId" clId="{66E1B3E5-B2C1-4B5B-83D1-6FBF4ED6258D}" dt="2019-02-05T17:49:06.566" v="0" actId="207"/>
            <ac:spMkLst>
              <pc:docMk/>
              <pc:sldMasterMk cId="0" sldId="2147483648"/>
              <pc:sldLayoutMk cId="2985574845" sldId="2147483669"/>
              <ac:spMk id="4" creationId="{00000000-0000-0000-0000-000000000000}"/>
            </ac:spMkLst>
          </pc:spChg>
          <pc:spChg chg="del mod">
            <ac:chgData name="anett mehler-bicher" userId="f7a4c83f7291193b" providerId="LiveId" clId="{66E1B3E5-B2C1-4B5B-83D1-6FBF4ED6258D}" dt="2019-02-05T17:51:01.811" v="9"/>
            <ac:spMkLst>
              <pc:docMk/>
              <pc:sldMasterMk cId="0" sldId="2147483648"/>
              <pc:sldLayoutMk cId="2985574845" sldId="2147483669"/>
              <ac:spMk id="9219" creationId="{00000000-0000-0000-0000-000000000000}"/>
            </ac:spMkLst>
          </pc:spChg>
          <pc:picChg chg="add mod">
            <ac:chgData name="anett mehler-bicher" userId="f7a4c83f7291193b" providerId="LiveId" clId="{66E1B3E5-B2C1-4B5B-83D1-6FBF4ED6258D}" dt="2019-02-05T17:50:24.696" v="7" actId="14100"/>
            <ac:picMkLst>
              <pc:docMk/>
              <pc:sldMasterMk cId="0" sldId="2147483648"/>
              <pc:sldLayoutMk cId="2985574845" sldId="2147483669"/>
              <ac:picMk id="3" creationId="{3EC8FCA5-15B6-434E-9BAA-5CA87151DB19}"/>
            </ac:picMkLst>
          </pc:picChg>
          <pc:picChg chg="del">
            <ac:chgData name="anett mehler-bicher" userId="f7a4c83f7291193b" providerId="LiveId" clId="{66E1B3E5-B2C1-4B5B-83D1-6FBF4ED6258D}" dt="2019-02-05T17:50:19.711" v="5" actId="478"/>
            <ac:picMkLst>
              <pc:docMk/>
              <pc:sldMasterMk cId="0" sldId="2147483648"/>
              <pc:sldLayoutMk cId="2985574845" sldId="2147483669"/>
              <ac:picMk id="5" creationId="{FDF861A0-8A8B-F74C-9961-FE3EC210E0FC}"/>
            </ac:picMkLst>
          </pc:picChg>
        </pc:sldLayoutChg>
      </pc:sldMasterChg>
    </pc:docChg>
  </pc:docChgLst>
  <pc:docChgLst>
    <pc:chgData name="Simic, Darko" userId="1f521bb9-6638-478c-91d3-1e5e63cb3634" providerId="ADAL" clId="{8FA4473D-2835-487A-A078-11A56E4D9961}"/>
    <pc:docChg chg="undo custSel addSld delSld modSld">
      <pc:chgData name="Simic, Darko" userId="1f521bb9-6638-478c-91d3-1e5e63cb3634" providerId="ADAL" clId="{8FA4473D-2835-487A-A078-11A56E4D9961}" dt="2024-03-06T09:58:20.771" v="930" actId="20577"/>
      <pc:docMkLst>
        <pc:docMk/>
      </pc:docMkLst>
      <pc:sldChg chg="modSp mod">
        <pc:chgData name="Simic, Darko" userId="1f521bb9-6638-478c-91d3-1e5e63cb3634" providerId="ADAL" clId="{8FA4473D-2835-487A-A078-11A56E4D9961}" dt="2024-03-06T09:58:20.771" v="930" actId="20577"/>
        <pc:sldMkLst>
          <pc:docMk/>
          <pc:sldMk cId="1177112116" sldId="850"/>
        </pc:sldMkLst>
        <pc:spChg chg="mod">
          <ac:chgData name="Simic, Darko" userId="1f521bb9-6638-478c-91d3-1e5e63cb3634" providerId="ADAL" clId="{8FA4473D-2835-487A-A078-11A56E4D9961}" dt="2024-03-06T09:58:20.771" v="930" actId="20577"/>
          <ac:spMkLst>
            <pc:docMk/>
            <pc:sldMk cId="1177112116" sldId="850"/>
            <ac:spMk id="2" creationId="{00000000-0000-0000-0000-000000000000}"/>
          </ac:spMkLst>
        </pc:spChg>
      </pc:sldChg>
      <pc:sldChg chg="addSp delSp modSp mod">
        <pc:chgData name="Simic, Darko" userId="1f521bb9-6638-478c-91d3-1e5e63cb3634" providerId="ADAL" clId="{8FA4473D-2835-487A-A078-11A56E4D9961}" dt="2024-03-06T09:52:27.359" v="548" actId="12"/>
        <pc:sldMkLst>
          <pc:docMk/>
          <pc:sldMk cId="1536741001" sldId="895"/>
        </pc:sldMkLst>
        <pc:spChg chg="del mod">
          <ac:chgData name="Simic, Darko" userId="1f521bb9-6638-478c-91d3-1e5e63cb3634" providerId="ADAL" clId="{8FA4473D-2835-487A-A078-11A56E4D9961}" dt="2024-03-06T09:31:14.423" v="206" actId="478"/>
          <ac:spMkLst>
            <pc:docMk/>
            <pc:sldMk cId="1536741001" sldId="895"/>
            <ac:spMk id="2" creationId="{00000000-0000-0000-0000-000000000000}"/>
          </ac:spMkLst>
        </pc:spChg>
        <pc:spChg chg="del">
          <ac:chgData name="Simic, Darko" userId="1f521bb9-6638-478c-91d3-1e5e63cb3634" providerId="ADAL" clId="{8FA4473D-2835-487A-A078-11A56E4D9961}" dt="2024-03-06T09:31:17.755" v="207" actId="478"/>
          <ac:spMkLst>
            <pc:docMk/>
            <pc:sldMk cId="1536741001" sldId="895"/>
            <ac:spMk id="3" creationId="{00000000-0000-0000-0000-000000000000}"/>
          </ac:spMkLst>
        </pc:spChg>
        <pc:spChg chg="mod">
          <ac:chgData name="Simic, Darko" userId="1f521bb9-6638-478c-91d3-1e5e63cb3634" providerId="ADAL" clId="{8FA4473D-2835-487A-A078-11A56E4D9961}" dt="2024-03-06T09:45:14.444" v="375" actId="20577"/>
          <ac:spMkLst>
            <pc:docMk/>
            <pc:sldMk cId="1536741001" sldId="895"/>
            <ac:spMk id="4" creationId="{00000000-0000-0000-0000-000000000000}"/>
          </ac:spMkLst>
        </pc:spChg>
        <pc:spChg chg="del">
          <ac:chgData name="Simic, Darko" userId="1f521bb9-6638-478c-91d3-1e5e63cb3634" providerId="ADAL" clId="{8FA4473D-2835-487A-A078-11A56E4D9961}" dt="2024-03-06T09:31:54.916" v="214" actId="478"/>
          <ac:spMkLst>
            <pc:docMk/>
            <pc:sldMk cId="1536741001" sldId="895"/>
            <ac:spMk id="5" creationId="{00000000-0000-0000-0000-000000000000}"/>
          </ac:spMkLst>
        </pc:spChg>
        <pc:spChg chg="add mod">
          <ac:chgData name="Simic, Darko" userId="1f521bb9-6638-478c-91d3-1e5e63cb3634" providerId="ADAL" clId="{8FA4473D-2835-487A-A078-11A56E4D9961}" dt="2024-03-06T09:31:24.363" v="209" actId="14100"/>
          <ac:spMkLst>
            <pc:docMk/>
            <pc:sldMk cId="1536741001" sldId="895"/>
            <ac:spMk id="6" creationId="{38701DFF-1F67-CA70-67FF-EF7DEBA89D79}"/>
          </ac:spMkLst>
        </pc:spChg>
        <pc:spChg chg="add mod">
          <ac:chgData name="Simic, Darko" userId="1f521bb9-6638-478c-91d3-1e5e63cb3634" providerId="ADAL" clId="{8FA4473D-2835-487A-A078-11A56E4D9961}" dt="2024-03-06T09:52:27.359" v="548" actId="12"/>
          <ac:spMkLst>
            <pc:docMk/>
            <pc:sldMk cId="1536741001" sldId="895"/>
            <ac:spMk id="9" creationId="{FF30280C-BF87-1AB9-DB52-4D787F978C88}"/>
          </ac:spMkLst>
        </pc:spChg>
        <pc:picChg chg="add mod">
          <ac:chgData name="Simic, Darko" userId="1f521bb9-6638-478c-91d3-1e5e63cb3634" providerId="ADAL" clId="{8FA4473D-2835-487A-A078-11A56E4D9961}" dt="2024-03-06T09:37:57.856" v="234" actId="14100"/>
          <ac:picMkLst>
            <pc:docMk/>
            <pc:sldMk cId="1536741001" sldId="895"/>
            <ac:picMk id="8" creationId="{B27C0751-5FF7-68E4-FCAC-C348B9128A4E}"/>
          </ac:picMkLst>
        </pc:picChg>
      </pc:sldChg>
      <pc:sldChg chg="addSp delSp modSp add del mod setBg">
        <pc:chgData name="Simic, Darko" userId="1f521bb9-6638-478c-91d3-1e5e63cb3634" providerId="ADAL" clId="{8FA4473D-2835-487A-A078-11A56E4D9961}" dt="2024-03-06T09:47:00.961" v="405" actId="47"/>
        <pc:sldMkLst>
          <pc:docMk/>
          <pc:sldMk cId="3862031933" sldId="898"/>
        </pc:sldMkLst>
        <pc:spChg chg="del">
          <ac:chgData name="Simic, Darko" userId="1f521bb9-6638-478c-91d3-1e5e63cb3634" providerId="ADAL" clId="{8FA4473D-2835-487A-A078-11A56E4D9961}" dt="2024-03-06T09:41:18.698" v="265"/>
          <ac:spMkLst>
            <pc:docMk/>
            <pc:sldMk cId="3862031933" sldId="898"/>
            <ac:spMk id="2" creationId="{00000000-0000-0000-0000-000000000000}"/>
          </ac:spMkLst>
        </pc:spChg>
        <pc:spChg chg="mod">
          <ac:chgData name="Simic, Darko" userId="1f521bb9-6638-478c-91d3-1e5e63cb3634" providerId="ADAL" clId="{8FA4473D-2835-487A-A078-11A56E4D9961}" dt="2024-03-06T09:37:16.319" v="228" actId="20577"/>
          <ac:spMkLst>
            <pc:docMk/>
            <pc:sldMk cId="3862031933" sldId="898"/>
            <ac:spMk id="3" creationId="{00000000-0000-0000-0000-000000000000}"/>
          </ac:spMkLst>
        </pc:spChg>
        <pc:spChg chg="add del mod">
          <ac:chgData name="Simic, Darko" userId="1f521bb9-6638-478c-91d3-1e5e63cb3634" providerId="ADAL" clId="{8FA4473D-2835-487A-A078-11A56E4D9961}" dt="2024-03-06T09:43:15.333" v="336"/>
          <ac:spMkLst>
            <pc:docMk/>
            <pc:sldMk cId="3862031933" sldId="898"/>
            <ac:spMk id="9" creationId="{B36999C5-E7BF-B7DE-9C28-129EB18812AA}"/>
          </ac:spMkLst>
        </pc:spChg>
        <pc:spChg chg="add del">
          <ac:chgData name="Simic, Darko" userId="1f521bb9-6638-478c-91d3-1e5e63cb3634" providerId="ADAL" clId="{8FA4473D-2835-487A-A078-11A56E4D9961}" dt="2024-03-06T09:43:12.564" v="335" actId="22"/>
          <ac:spMkLst>
            <pc:docMk/>
            <pc:sldMk cId="3862031933" sldId="898"/>
            <ac:spMk id="11" creationId="{11FB582C-C540-7CAB-E49C-052A16487297}"/>
          </ac:spMkLst>
        </pc:spChg>
        <pc:spChg chg="add mod">
          <ac:chgData name="Simic, Darko" userId="1f521bb9-6638-478c-91d3-1e5e63cb3634" providerId="ADAL" clId="{8FA4473D-2835-487A-A078-11A56E4D9961}" dt="2024-03-06T09:44:46.833" v="368" actId="478"/>
          <ac:spMkLst>
            <pc:docMk/>
            <pc:sldMk cId="3862031933" sldId="898"/>
            <ac:spMk id="15" creationId="{08A68D4E-281D-DA02-03BA-9CB926C0F654}"/>
          </ac:spMkLst>
        </pc:spChg>
        <pc:picChg chg="add del mod">
          <ac:chgData name="Simic, Darko" userId="1f521bb9-6638-478c-91d3-1e5e63cb3634" providerId="ADAL" clId="{8FA4473D-2835-487A-A078-11A56E4D9961}" dt="2024-03-06T09:41:26.076" v="267" actId="478"/>
          <ac:picMkLst>
            <pc:docMk/>
            <pc:sldMk cId="3862031933" sldId="898"/>
            <ac:picMk id="7" creationId="{1A891956-D03F-6708-A7A8-A28C654681DD}"/>
          </ac:picMkLst>
        </pc:picChg>
        <pc:picChg chg="add del mod">
          <ac:chgData name="Simic, Darko" userId="1f521bb9-6638-478c-91d3-1e5e63cb3634" providerId="ADAL" clId="{8FA4473D-2835-487A-A078-11A56E4D9961}" dt="2024-03-06T09:44:46.833" v="368" actId="478"/>
          <ac:picMkLst>
            <pc:docMk/>
            <pc:sldMk cId="3862031933" sldId="898"/>
            <ac:picMk id="13" creationId="{494A2830-0D48-D148-FD98-11075727A100}"/>
          </ac:picMkLst>
        </pc:picChg>
      </pc:sldChg>
      <pc:sldChg chg="addSp delSp modSp add del">
        <pc:chgData name="Simic, Darko" userId="1f521bb9-6638-478c-91d3-1e5e63cb3634" providerId="ADAL" clId="{8FA4473D-2835-487A-A078-11A56E4D9961}" dt="2024-03-06T09:46:56.414" v="404" actId="47"/>
        <pc:sldMkLst>
          <pc:docMk/>
          <pc:sldMk cId="4112400627" sldId="899"/>
        </pc:sldMkLst>
        <pc:spChg chg="del">
          <ac:chgData name="Simic, Darko" userId="1f521bb9-6638-478c-91d3-1e5e63cb3634" providerId="ADAL" clId="{8FA4473D-2835-487A-A078-11A56E4D9961}" dt="2024-03-06T09:41:46.189" v="268"/>
          <ac:spMkLst>
            <pc:docMk/>
            <pc:sldMk cId="4112400627" sldId="899"/>
            <ac:spMk id="2" creationId="{00000000-0000-0000-0000-000000000000}"/>
          </ac:spMkLst>
        </pc:spChg>
        <pc:picChg chg="add mod">
          <ac:chgData name="Simic, Darko" userId="1f521bb9-6638-478c-91d3-1e5e63cb3634" providerId="ADAL" clId="{8FA4473D-2835-487A-A078-11A56E4D9961}" dt="2024-03-06T09:41:46.189" v="268"/>
          <ac:picMkLst>
            <pc:docMk/>
            <pc:sldMk cId="4112400627" sldId="899"/>
            <ac:picMk id="7" creationId="{AC513076-FD94-E9CC-DA19-643779FE4AC6}"/>
          </ac:picMkLst>
        </pc:picChg>
      </pc:sldChg>
      <pc:sldChg chg="modSp add mod">
        <pc:chgData name="Simic, Darko" userId="1f521bb9-6638-478c-91d3-1e5e63cb3634" providerId="ADAL" clId="{8FA4473D-2835-487A-A078-11A56E4D9961}" dt="2024-03-06T09:53:39.967" v="639" actId="114"/>
        <pc:sldMkLst>
          <pc:docMk/>
          <pc:sldMk cId="3264530787" sldId="900"/>
        </pc:sldMkLst>
        <pc:spChg chg="mod">
          <ac:chgData name="Simic, Darko" userId="1f521bb9-6638-478c-91d3-1e5e63cb3634" providerId="ADAL" clId="{8FA4473D-2835-487A-A078-11A56E4D9961}" dt="2024-03-06T09:45:16.861" v="377" actId="20577"/>
          <ac:spMkLst>
            <pc:docMk/>
            <pc:sldMk cId="3264530787" sldId="900"/>
            <ac:spMk id="4" creationId="{00000000-0000-0000-0000-000000000000}"/>
          </ac:spMkLst>
        </pc:spChg>
        <pc:spChg chg="mod">
          <ac:chgData name="Simic, Darko" userId="1f521bb9-6638-478c-91d3-1e5e63cb3634" providerId="ADAL" clId="{8FA4473D-2835-487A-A078-11A56E4D9961}" dt="2024-03-06T09:53:39.967" v="639" actId="114"/>
          <ac:spMkLst>
            <pc:docMk/>
            <pc:sldMk cId="3264530787" sldId="900"/>
            <ac:spMk id="9" creationId="{FF30280C-BF87-1AB9-DB52-4D787F978C88}"/>
          </ac:spMkLst>
        </pc:spChg>
        <pc:picChg chg="mod">
          <ac:chgData name="Simic, Darko" userId="1f521bb9-6638-478c-91d3-1e5e63cb3634" providerId="ADAL" clId="{8FA4473D-2835-487A-A078-11A56E4D9961}" dt="2024-03-06T09:41:23.695" v="266" actId="14826"/>
          <ac:picMkLst>
            <pc:docMk/>
            <pc:sldMk cId="3264530787" sldId="900"/>
            <ac:picMk id="8" creationId="{B27C0751-5FF7-68E4-FCAC-C348B9128A4E}"/>
          </ac:picMkLst>
        </pc:picChg>
      </pc:sldChg>
      <pc:sldChg chg="modSp add mod">
        <pc:chgData name="Simic, Darko" userId="1f521bb9-6638-478c-91d3-1e5e63cb3634" providerId="ADAL" clId="{8FA4473D-2835-487A-A078-11A56E4D9961}" dt="2024-03-06T09:54:57.086" v="832" actId="114"/>
        <pc:sldMkLst>
          <pc:docMk/>
          <pc:sldMk cId="157460351" sldId="901"/>
        </pc:sldMkLst>
        <pc:spChg chg="mod">
          <ac:chgData name="Simic, Darko" userId="1f521bb9-6638-478c-91d3-1e5e63cb3634" providerId="ADAL" clId="{8FA4473D-2835-487A-A078-11A56E4D9961}" dt="2024-03-06T09:45:19.254" v="379" actId="20577"/>
          <ac:spMkLst>
            <pc:docMk/>
            <pc:sldMk cId="157460351" sldId="901"/>
            <ac:spMk id="4" creationId="{00000000-0000-0000-0000-000000000000}"/>
          </ac:spMkLst>
        </pc:spChg>
        <pc:spChg chg="mod">
          <ac:chgData name="Simic, Darko" userId="1f521bb9-6638-478c-91d3-1e5e63cb3634" providerId="ADAL" clId="{8FA4473D-2835-487A-A078-11A56E4D9961}" dt="2024-03-06T09:54:57.086" v="832" actId="114"/>
          <ac:spMkLst>
            <pc:docMk/>
            <pc:sldMk cId="157460351" sldId="901"/>
            <ac:spMk id="9" creationId="{FF30280C-BF87-1AB9-DB52-4D787F978C88}"/>
          </ac:spMkLst>
        </pc:spChg>
        <pc:picChg chg="mod">
          <ac:chgData name="Simic, Darko" userId="1f521bb9-6638-478c-91d3-1e5e63cb3634" providerId="ADAL" clId="{8FA4473D-2835-487A-A078-11A56E4D9961}" dt="2024-03-06T09:41:53.971" v="270" actId="14826"/>
          <ac:picMkLst>
            <pc:docMk/>
            <pc:sldMk cId="157460351" sldId="901"/>
            <ac:picMk id="8" creationId="{B27C0751-5FF7-68E4-FCAC-C348B9128A4E}"/>
          </ac:picMkLst>
        </pc:picChg>
      </pc:sldChg>
      <pc:sldChg chg="delSp modSp add mod">
        <pc:chgData name="Simic, Darko" userId="1f521bb9-6638-478c-91d3-1e5e63cb3634" providerId="ADAL" clId="{8FA4473D-2835-487A-A078-11A56E4D9961}" dt="2024-03-06T09:44:56.876" v="373" actId="1037"/>
        <pc:sldMkLst>
          <pc:docMk/>
          <pc:sldMk cId="1750298117" sldId="902"/>
        </pc:sldMkLst>
        <pc:spChg chg="mod">
          <ac:chgData name="Simic, Darko" userId="1f521bb9-6638-478c-91d3-1e5e63cb3634" providerId="ADAL" clId="{8FA4473D-2835-487A-A078-11A56E4D9961}" dt="2024-03-06T09:43:39.516" v="359" actId="20577"/>
          <ac:spMkLst>
            <pc:docMk/>
            <pc:sldMk cId="1750298117" sldId="902"/>
            <ac:spMk id="4" creationId="{00000000-0000-0000-0000-000000000000}"/>
          </ac:spMkLst>
        </pc:spChg>
        <pc:spChg chg="del">
          <ac:chgData name="Simic, Darko" userId="1f521bb9-6638-478c-91d3-1e5e63cb3634" providerId="ADAL" clId="{8FA4473D-2835-487A-A078-11A56E4D9961}" dt="2024-03-06T09:43:28.002" v="340" actId="478"/>
          <ac:spMkLst>
            <pc:docMk/>
            <pc:sldMk cId="1750298117" sldId="902"/>
            <ac:spMk id="9" creationId="{FF30280C-BF87-1AB9-DB52-4D787F978C88}"/>
          </ac:spMkLst>
        </pc:spChg>
        <pc:picChg chg="mod">
          <ac:chgData name="Simic, Darko" userId="1f521bb9-6638-478c-91d3-1e5e63cb3634" providerId="ADAL" clId="{8FA4473D-2835-487A-A078-11A56E4D9961}" dt="2024-03-06T09:44:56.876" v="373" actId="1037"/>
          <ac:picMkLst>
            <pc:docMk/>
            <pc:sldMk cId="1750298117" sldId="902"/>
            <ac:picMk id="8" creationId="{B27C0751-5FF7-68E4-FCAC-C348B9128A4E}"/>
          </ac:picMkLst>
        </pc:picChg>
      </pc:sldChg>
      <pc:sldChg chg="addSp delSp modSp add mod">
        <pc:chgData name="Simic, Darko" userId="1f521bb9-6638-478c-91d3-1e5e63cb3634" providerId="ADAL" clId="{8FA4473D-2835-487A-A078-11A56E4D9961}" dt="2024-03-06T09:51:03.143" v="433" actId="20577"/>
        <pc:sldMkLst>
          <pc:docMk/>
          <pc:sldMk cId="2428026950" sldId="903"/>
        </pc:sldMkLst>
        <pc:spChg chg="mod">
          <ac:chgData name="Simic, Darko" userId="1f521bb9-6638-478c-91d3-1e5e63cb3634" providerId="ADAL" clId="{8FA4473D-2835-487A-A078-11A56E4D9961}" dt="2024-03-06T09:51:03.143" v="433" actId="20577"/>
          <ac:spMkLst>
            <pc:docMk/>
            <pc:sldMk cId="2428026950" sldId="903"/>
            <ac:spMk id="4" creationId="{00000000-0000-0000-0000-000000000000}"/>
          </ac:spMkLst>
        </pc:spChg>
        <pc:picChg chg="add del mod">
          <ac:chgData name="Simic, Darko" userId="1f521bb9-6638-478c-91d3-1e5e63cb3634" providerId="ADAL" clId="{8FA4473D-2835-487A-A078-11A56E4D9961}" dt="2024-03-06T09:49:56.411" v="409" actId="21"/>
          <ac:picMkLst>
            <pc:docMk/>
            <pc:sldMk cId="2428026950" sldId="903"/>
            <ac:picMk id="3" creationId="{FDCDC479-20A3-9260-4C56-2A3A95CCD4E7}"/>
          </ac:picMkLst>
        </pc:picChg>
        <pc:picChg chg="mod">
          <ac:chgData name="Simic, Darko" userId="1f521bb9-6638-478c-91d3-1e5e63cb3634" providerId="ADAL" clId="{8FA4473D-2835-487A-A078-11A56E4D9961}" dt="2024-03-06T09:49:58.974" v="410" actId="14826"/>
          <ac:picMkLst>
            <pc:docMk/>
            <pc:sldMk cId="2428026950" sldId="903"/>
            <ac:picMk id="8" creationId="{B27C0751-5FF7-68E4-FCAC-C348B9128A4E}"/>
          </ac:picMkLst>
        </pc:picChg>
      </pc:sldChg>
      <pc:sldChg chg="addSp delSp modSp add mod">
        <pc:chgData name="Simic, Darko" userId="1f521bb9-6638-478c-91d3-1e5e63cb3634" providerId="ADAL" clId="{8FA4473D-2835-487A-A078-11A56E4D9961}" dt="2024-03-06T09:51:21.478" v="456" actId="1038"/>
        <pc:sldMkLst>
          <pc:docMk/>
          <pc:sldMk cId="285095005" sldId="904"/>
        </pc:sldMkLst>
        <pc:spChg chg="mod">
          <ac:chgData name="Simic, Darko" userId="1f521bb9-6638-478c-91d3-1e5e63cb3634" providerId="ADAL" clId="{8FA4473D-2835-487A-A078-11A56E4D9961}" dt="2024-03-06T09:51:15.604" v="451" actId="20577"/>
          <ac:spMkLst>
            <pc:docMk/>
            <pc:sldMk cId="285095005" sldId="904"/>
            <ac:spMk id="4" creationId="{00000000-0000-0000-0000-000000000000}"/>
          </ac:spMkLst>
        </pc:spChg>
        <pc:picChg chg="add del mod">
          <ac:chgData name="Simic, Darko" userId="1f521bb9-6638-478c-91d3-1e5e63cb3634" providerId="ADAL" clId="{8FA4473D-2835-487A-A078-11A56E4D9961}" dt="2024-03-06T09:50:14.749" v="412" actId="21"/>
          <ac:picMkLst>
            <pc:docMk/>
            <pc:sldMk cId="285095005" sldId="904"/>
            <ac:picMk id="3" creationId="{F6BF090B-6C76-020B-2F64-067ECC6DC891}"/>
          </ac:picMkLst>
        </pc:picChg>
        <pc:picChg chg="mod">
          <ac:chgData name="Simic, Darko" userId="1f521bb9-6638-478c-91d3-1e5e63cb3634" providerId="ADAL" clId="{8FA4473D-2835-487A-A078-11A56E4D9961}" dt="2024-03-06T09:51:21.478" v="456" actId="1038"/>
          <ac:picMkLst>
            <pc:docMk/>
            <pc:sldMk cId="285095005" sldId="904"/>
            <ac:picMk id="8" creationId="{B27C0751-5FF7-68E4-FCAC-C348B9128A4E}"/>
          </ac:picMkLst>
        </pc:picChg>
      </pc:sldChg>
      <pc:sldChg chg="modSp add mod">
        <pc:chgData name="Simic, Darko" userId="1f521bb9-6638-478c-91d3-1e5e63cb3634" providerId="ADAL" clId="{8FA4473D-2835-487A-A078-11A56E4D9961}" dt="2024-03-06T09:55:53.489" v="926" actId="20577"/>
        <pc:sldMkLst>
          <pc:docMk/>
          <pc:sldMk cId="4041362158" sldId="905"/>
        </pc:sldMkLst>
        <pc:spChg chg="mod">
          <ac:chgData name="Simic, Darko" userId="1f521bb9-6638-478c-91d3-1e5e63cb3634" providerId="ADAL" clId="{8FA4473D-2835-487A-A078-11A56E4D9961}" dt="2024-03-06T09:55:53.489" v="926" actId="20577"/>
          <ac:spMkLst>
            <pc:docMk/>
            <pc:sldMk cId="4041362158" sldId="905"/>
            <ac:spMk id="4" creationId="{00000000-0000-0000-0000-000000000000}"/>
          </ac:spMkLst>
        </pc:spChg>
        <pc:spChg chg="mod">
          <ac:chgData name="Simic, Darko" userId="1f521bb9-6638-478c-91d3-1e5e63cb3634" providerId="ADAL" clId="{8FA4473D-2835-487A-A078-11A56E4D9961}" dt="2024-03-06T09:55:41.180" v="924" actId="20577"/>
          <ac:spMkLst>
            <pc:docMk/>
            <pc:sldMk cId="4041362158" sldId="905"/>
            <ac:spMk id="9" creationId="{FF30280C-BF87-1AB9-DB52-4D787F978C8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FCD48E-6210-DE4B-B386-87783A5CB2FE}" type="datetimeFigureOut">
              <a:rPr lang="de-DE" smtClean="0"/>
              <a:t>06.03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D2E19E-2BE2-2F46-9BD4-628CEA420D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5302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2588" y="685800"/>
            <a:ext cx="6092825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C40A9B-F604-0249-99E8-DE45B5A5C37C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33983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576072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1152144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728216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2304288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880360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40A9B-F604-0249-99E8-DE45B5A5C37C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7050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40A9B-F604-0249-99E8-DE45B5A5C37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6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40A9B-F604-0249-99E8-DE45B5A5C37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7541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1" y="2"/>
            <a:ext cx="15360650" cy="8640763"/>
          </a:xfrm>
          <a:prstGeom prst="rect">
            <a:avLst/>
          </a:prstGeom>
          <a:solidFill>
            <a:srgbClr val="F29400"/>
          </a:solidFill>
          <a:ln>
            <a:noFill/>
          </a:ln>
          <a:effectLst/>
        </p:spPr>
        <p:txBody>
          <a:bodyPr vert="horz" wrap="square" lIns="115214" tIns="57607" rIns="115214" bIns="57607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1521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5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EC8FCA5-15B6-434E-9BAA-5CA87151DB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2981" y="710119"/>
            <a:ext cx="4219750" cy="1306006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631950" y="2879725"/>
            <a:ext cx="12385079" cy="3240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57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6">
          <p15:clr>
            <a:srgbClr val="FBAE40"/>
          </p15:clr>
        </p15:guide>
        <p15:guide id="2" orient="horz" pos="2721">
          <p15:clr>
            <a:srgbClr val="FBAE40"/>
          </p15:clr>
        </p15:guide>
        <p15:guide id="3" pos="5290">
          <p15:clr>
            <a:srgbClr val="FBAE40"/>
          </p15:clr>
        </p15:guide>
        <p15:guide id="4" pos="5743">
          <p15:clr>
            <a:srgbClr val="FBAE40"/>
          </p15:clr>
        </p15:guide>
        <p15:guide id="5" pos="6197">
          <p15:clr>
            <a:srgbClr val="FBAE40"/>
          </p15:clr>
        </p15:guide>
        <p15:guide id="6" pos="6650">
          <p15:clr>
            <a:srgbClr val="FBAE40"/>
          </p15:clr>
        </p15:guide>
        <p15:guide id="7" pos="7104">
          <p15:clr>
            <a:srgbClr val="FBAE40"/>
          </p15:clr>
        </p15:guide>
        <p15:guide id="8" pos="7558">
          <p15:clr>
            <a:srgbClr val="FBAE40"/>
          </p15:clr>
        </p15:guide>
        <p15:guide id="9" pos="8011">
          <p15:clr>
            <a:srgbClr val="FBAE40"/>
          </p15:clr>
        </p15:guide>
        <p15:guide id="10" pos="8465">
          <p15:clr>
            <a:srgbClr val="FBAE40"/>
          </p15:clr>
        </p15:guide>
        <p15:guide id="11" pos="8918">
          <p15:clr>
            <a:srgbClr val="FBAE40"/>
          </p15:clr>
        </p15:guide>
        <p15:guide id="12" pos="9372">
          <p15:clr>
            <a:srgbClr val="FBAE40"/>
          </p15:clr>
        </p15:guide>
        <p15:guide id="13" pos="4382">
          <p15:clr>
            <a:srgbClr val="FBAE40"/>
          </p15:clr>
        </p15:guide>
        <p15:guide id="14" pos="3929">
          <p15:clr>
            <a:srgbClr val="FBAE40"/>
          </p15:clr>
        </p15:guide>
        <p15:guide id="15" pos="3475">
          <p15:clr>
            <a:srgbClr val="FBAE40"/>
          </p15:clr>
        </p15:guide>
        <p15:guide id="16" pos="3022">
          <p15:clr>
            <a:srgbClr val="FBAE40"/>
          </p15:clr>
        </p15:guide>
        <p15:guide id="17" pos="2568">
          <p15:clr>
            <a:srgbClr val="FBAE40"/>
          </p15:clr>
        </p15:guide>
        <p15:guide id="18" pos="2114">
          <p15:clr>
            <a:srgbClr val="FBAE40"/>
          </p15:clr>
        </p15:guide>
        <p15:guide id="19" pos="1661">
          <p15:clr>
            <a:srgbClr val="FBAE40"/>
          </p15:clr>
        </p15:guide>
        <p15:guide id="20" pos="1207">
          <p15:clr>
            <a:srgbClr val="FBAE40"/>
          </p15:clr>
        </p15:guide>
        <p15:guide id="21" pos="754">
          <p15:clr>
            <a:srgbClr val="FBAE40"/>
          </p15:clr>
        </p15:guide>
        <p15:guide id="22" pos="300">
          <p15:clr>
            <a:srgbClr val="FBAE40"/>
          </p15:clr>
        </p15:guide>
        <p15:guide id="23" orient="horz" pos="3175">
          <p15:clr>
            <a:srgbClr val="FBAE40"/>
          </p15:clr>
        </p15:guide>
        <p15:guide id="24" orient="horz" pos="3629">
          <p15:clr>
            <a:srgbClr val="FBAE40"/>
          </p15:clr>
        </p15:guide>
        <p15:guide id="25" orient="horz" pos="4082">
          <p15:clr>
            <a:srgbClr val="FBAE40"/>
          </p15:clr>
        </p15:guide>
        <p15:guide id="26" pos="9672">
          <p15:clr>
            <a:srgbClr val="FBAE40"/>
          </p15:clr>
        </p15:guide>
        <p15:guide id="27">
          <p15:clr>
            <a:srgbClr val="FBAE40"/>
          </p15:clr>
        </p15:guide>
        <p15:guide id="28" orient="horz" pos="2268">
          <p15:clr>
            <a:srgbClr val="FBAE40"/>
          </p15:clr>
        </p15:guide>
        <p15:guide id="29" orient="horz" pos="1814">
          <p15:clr>
            <a:srgbClr val="FBAE40"/>
          </p15:clr>
        </p15:guide>
        <p15:guide id="30" orient="horz" pos="1361">
          <p15:clr>
            <a:srgbClr val="FBAE40"/>
          </p15:clr>
        </p15:guide>
        <p15:guide id="31" orient="horz" pos="907">
          <p15:clr>
            <a:srgbClr val="FBAE40"/>
          </p15:clr>
        </p15:guide>
        <p15:guide id="32" orient="horz" pos="454">
          <p15:clr>
            <a:srgbClr val="FBAE40"/>
          </p15:clr>
        </p15:guide>
        <p15:guide id="33" orient="horz" pos="4536">
          <p15:clr>
            <a:srgbClr val="FBAE40"/>
          </p15:clr>
        </p15:guide>
        <p15:guide id="34" orient="horz" pos="4989">
          <p15:clr>
            <a:srgbClr val="FBAE40"/>
          </p15:clr>
        </p15:guide>
        <p15:guide id="35" orient="horz">
          <p15:clr>
            <a:srgbClr val="FBAE40"/>
          </p15:clr>
        </p15:guide>
        <p15:guide id="36" orient="horz" pos="5443">
          <p15:clr>
            <a:srgbClr val="FBAE40"/>
          </p15:clr>
        </p15:guide>
        <p15:guide id="37" pos="527">
          <p15:clr>
            <a:srgbClr val="FBAE40"/>
          </p15:clr>
        </p15:guide>
        <p15:guide id="38" orient="horz" pos="680">
          <p15:clr>
            <a:srgbClr val="FBAE40"/>
          </p15:clr>
        </p15:guide>
        <p15:guide id="39" pos="9145">
          <p15:clr>
            <a:srgbClr val="FBAE40"/>
          </p15:clr>
        </p15:guide>
        <p15:guide id="40" orient="horz" pos="4763">
          <p15:clr>
            <a:srgbClr val="FBAE40"/>
          </p15:clr>
        </p15:guide>
        <p15:guide id="41" orient="horz" pos="2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>
                <a:latin typeface="Calibri" panose="020F0502020204030204" pitchFamily="34" charset="0"/>
                <a:cs typeface="Calibri" panose="020F0502020204030204" pitchFamily="34" charset="0"/>
              </a:rPr>
              <a:t> XX | Vorname1 Nachname1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3942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>
                <a:latin typeface="Calibri" panose="020F0502020204030204" pitchFamily="34" charset="0"/>
                <a:cs typeface="Calibri" panose="020F0502020204030204" pitchFamily="34" charset="0"/>
              </a:rPr>
              <a:t> XX | Vorname2 Nachname2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7904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>
                <a:latin typeface="Calibri" panose="020F0502020204030204" pitchFamily="34" charset="0"/>
                <a:cs typeface="Calibri" panose="020F0502020204030204" pitchFamily="34" charset="0"/>
              </a:rPr>
              <a:t> XX | Vorname3 Nachname3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039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9" r:id="rId2"/>
    <p:sldLayoutId id="2147483681" r:id="rId3"/>
    <p:sldLayoutId id="2147483682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Calibri"/>
          <a:ea typeface="+mj-ea"/>
          <a:cs typeface="Calibri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5pPr>
      <a:lvl6pPr marL="576072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6pPr>
      <a:lvl7pPr marL="1152144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7pPr>
      <a:lvl8pPr marL="1728216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8pPr>
      <a:lvl9pPr marL="2304288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9pPr>
    </p:titleStyle>
    <p:bodyStyle>
      <a:lvl1pPr marL="432054" indent="-432054" algn="l" rtl="0" eaLnBrk="1" fontAlgn="base" hangingPunct="1">
        <a:spcBef>
          <a:spcPct val="20000"/>
        </a:spcBef>
        <a:spcAft>
          <a:spcPct val="0"/>
        </a:spcAft>
        <a:buChar char="•"/>
        <a:defRPr sz="4000">
          <a:solidFill>
            <a:schemeClr val="tx1"/>
          </a:solidFill>
          <a:latin typeface="+mn-lt"/>
          <a:ea typeface="+mn-ea"/>
          <a:cs typeface="+mn-cs"/>
        </a:defRPr>
      </a:lvl1pPr>
      <a:lvl2pPr marL="936117" indent="-360045" algn="l" rtl="0" eaLnBrk="1" fontAlgn="base" hangingPunct="1">
        <a:spcBef>
          <a:spcPct val="20000"/>
        </a:spcBef>
        <a:spcAft>
          <a:spcPct val="0"/>
        </a:spcAft>
        <a:buChar char="–"/>
        <a:defRPr sz="3500">
          <a:solidFill>
            <a:schemeClr val="tx1"/>
          </a:solidFill>
          <a:latin typeface="+mn-lt"/>
          <a:ea typeface="+mn-ea"/>
        </a:defRPr>
      </a:lvl2pPr>
      <a:lvl3pPr marL="1440180" indent="-288036" algn="l" rtl="0" eaLnBrk="1" fontAlgn="base" hangingPunct="1">
        <a:spcBef>
          <a:spcPct val="20000"/>
        </a:spcBef>
        <a:spcAft>
          <a:spcPct val="0"/>
        </a:spcAft>
        <a:buChar char="•"/>
        <a:defRPr sz="3000">
          <a:solidFill>
            <a:schemeClr val="tx1"/>
          </a:solidFill>
          <a:latin typeface="+mn-lt"/>
          <a:ea typeface="+mn-ea"/>
        </a:defRPr>
      </a:lvl3pPr>
      <a:lvl4pPr marL="1968246" indent="-288036" algn="l" rtl="0" eaLnBrk="1" fontAlgn="base" hangingPunct="1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  <a:ea typeface="+mn-ea"/>
        </a:defRPr>
      </a:lvl4pPr>
      <a:lvl5pPr marL="2496312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5pPr>
      <a:lvl6pPr marL="3072384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6pPr>
      <a:lvl7pPr marL="3648456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7pPr>
      <a:lvl8pPr marL="4224528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8pPr>
      <a:lvl9pPr marL="4800600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2400" b="0" dirty="0"/>
              <a:t>Praxismodul 1</a:t>
            </a:r>
          </a:p>
          <a:p>
            <a:r>
              <a:rPr lang="de-DE" sz="4400" dirty="0" err="1"/>
              <a:t>Collectiqo</a:t>
            </a:r>
            <a:endParaRPr lang="de-DE" sz="4400" dirty="0"/>
          </a:p>
          <a:p>
            <a:endParaRPr lang="de-DE" sz="4400" dirty="0"/>
          </a:p>
          <a:p>
            <a:endParaRPr lang="de-DE" sz="3600" b="0" dirty="0"/>
          </a:p>
          <a:p>
            <a:r>
              <a:rPr lang="de-DE" sz="3600" b="0" dirty="0"/>
              <a:t>PM_A_5</a:t>
            </a:r>
          </a:p>
          <a:p>
            <a:r>
              <a:rPr lang="de-DE" sz="2400" b="0" dirty="0"/>
              <a:t>Bindernagel, Lorenz </a:t>
            </a:r>
          </a:p>
          <a:p>
            <a:r>
              <a:rPr lang="de-DE" sz="2400" b="0" dirty="0"/>
              <a:t>Schäfer, Robin </a:t>
            </a:r>
          </a:p>
          <a:p>
            <a:r>
              <a:rPr lang="hr-HR" sz="2400" b="0" dirty="0"/>
              <a:t>Š</a:t>
            </a:r>
            <a:r>
              <a:rPr lang="de-DE" sz="2400" b="0" dirty="0" err="1"/>
              <a:t>imi</a:t>
            </a:r>
            <a:r>
              <a:rPr lang="hr-HR" sz="2400" b="0" dirty="0"/>
              <a:t>ć</a:t>
            </a:r>
            <a:r>
              <a:rPr lang="de-DE" sz="2400" b="0" dirty="0"/>
              <a:t>, Darko </a:t>
            </a:r>
          </a:p>
          <a:p>
            <a:r>
              <a:rPr lang="de-DE" sz="2400" b="0" dirty="0"/>
              <a:t>Struve, Anika </a:t>
            </a:r>
          </a:p>
          <a:p>
            <a:endParaRPr lang="de-DE" sz="2400" b="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7112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Bildnachweis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2760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Teilergebnisse 1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6109" y="1463137"/>
            <a:ext cx="7831329" cy="6117528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F30280C-BF87-1AB9-DB52-4D787F978C88}"/>
              </a:ext>
            </a:extLst>
          </p:cNvPr>
          <p:cNvSpPr txBox="1">
            <a:spLocks/>
          </p:cNvSpPr>
          <p:nvPr/>
        </p:nvSpPr>
        <p:spPr>
          <a:xfrm>
            <a:off x="611160" y="2304157"/>
            <a:ext cx="4404870" cy="4536504"/>
          </a:xfrm>
          <a:prstGeom prst="rect">
            <a:avLst/>
          </a:prstGeom>
        </p:spPr>
        <p:txBody>
          <a:bodyPr/>
          <a:lstStyle>
            <a:lvl1pPr marL="432054" indent="-432054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36117" indent="-36004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67">
                <a:solidFill>
                  <a:schemeClr val="tx1"/>
                </a:solidFill>
                <a:latin typeface="Lucida Sans" pitchFamily="34" charset="0"/>
                <a:ea typeface="+mn-ea"/>
              </a:defRPr>
            </a:lvl2pPr>
            <a:lvl3pPr marL="144018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15">
                <a:solidFill>
                  <a:schemeClr val="tx1"/>
                </a:solidFill>
                <a:latin typeface="Lucida Sans" pitchFamily="34" charset="0"/>
                <a:ea typeface="+mn-ea"/>
              </a:defRPr>
            </a:lvl3pPr>
            <a:lvl4pPr marL="196824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763">
                <a:solidFill>
                  <a:schemeClr val="tx1"/>
                </a:solidFill>
                <a:latin typeface="Lucida Sans" pitchFamily="34" charset="0"/>
                <a:ea typeface="+mn-ea"/>
              </a:defRPr>
            </a:lvl4pPr>
            <a:lvl5pPr marL="2496312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11">
                <a:solidFill>
                  <a:schemeClr val="tx1"/>
                </a:solidFill>
                <a:latin typeface="Lucida Sans" pitchFamily="34" charset="0"/>
                <a:ea typeface="+mn-ea"/>
              </a:defRPr>
            </a:lvl5pPr>
            <a:lvl6pPr marL="3072384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6pPr>
            <a:lvl7pPr marL="364845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7pPr>
            <a:lvl8pPr marL="4224528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8pPr>
            <a:lvl9pPr marL="480060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i="1" kern="0" dirty="0" err="1"/>
              <a:t>Starting</a:t>
            </a:r>
            <a:r>
              <a:rPr lang="de-DE" b="1" i="1" kern="0" dirty="0"/>
              <a:t> Page:</a:t>
            </a:r>
          </a:p>
          <a:p>
            <a:endParaRPr lang="de-DE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Infos zur Sei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Option zur Anmeldu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Option zur Registrierung</a:t>
            </a:r>
          </a:p>
          <a:p>
            <a:endParaRPr lang="de-DE" kern="0" dirty="0"/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536741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Teilergebnisse 2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736109" y="1464265"/>
            <a:ext cx="7831329" cy="6115271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F30280C-BF87-1AB9-DB52-4D787F978C88}"/>
              </a:ext>
            </a:extLst>
          </p:cNvPr>
          <p:cNvSpPr txBox="1">
            <a:spLocks/>
          </p:cNvSpPr>
          <p:nvPr/>
        </p:nvSpPr>
        <p:spPr>
          <a:xfrm>
            <a:off x="611160" y="2304157"/>
            <a:ext cx="4404870" cy="4536504"/>
          </a:xfrm>
          <a:prstGeom prst="rect">
            <a:avLst/>
          </a:prstGeom>
        </p:spPr>
        <p:txBody>
          <a:bodyPr/>
          <a:lstStyle>
            <a:lvl1pPr marL="432054" indent="-432054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36117" indent="-36004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67">
                <a:solidFill>
                  <a:schemeClr val="tx1"/>
                </a:solidFill>
                <a:latin typeface="Lucida Sans" pitchFamily="34" charset="0"/>
                <a:ea typeface="+mn-ea"/>
              </a:defRPr>
            </a:lvl2pPr>
            <a:lvl3pPr marL="144018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15">
                <a:solidFill>
                  <a:schemeClr val="tx1"/>
                </a:solidFill>
                <a:latin typeface="Lucida Sans" pitchFamily="34" charset="0"/>
                <a:ea typeface="+mn-ea"/>
              </a:defRPr>
            </a:lvl3pPr>
            <a:lvl4pPr marL="196824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763">
                <a:solidFill>
                  <a:schemeClr val="tx1"/>
                </a:solidFill>
                <a:latin typeface="Lucida Sans" pitchFamily="34" charset="0"/>
                <a:ea typeface="+mn-ea"/>
              </a:defRPr>
            </a:lvl4pPr>
            <a:lvl5pPr marL="2496312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11">
                <a:solidFill>
                  <a:schemeClr val="tx1"/>
                </a:solidFill>
                <a:latin typeface="Lucida Sans" pitchFamily="34" charset="0"/>
                <a:ea typeface="+mn-ea"/>
              </a:defRPr>
            </a:lvl5pPr>
            <a:lvl6pPr marL="3072384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6pPr>
            <a:lvl7pPr marL="364845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7pPr>
            <a:lvl8pPr marL="4224528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8pPr>
            <a:lvl9pPr marL="480060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i="1" kern="0" dirty="0"/>
              <a:t>Landing Page:</a:t>
            </a:r>
          </a:p>
          <a:p>
            <a:endParaRPr lang="de-DE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Collection-Übersich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Profilübersich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Hinzufügen neuer Collections</a:t>
            </a: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26453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Teilergebnisse 3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736109" y="1464265"/>
            <a:ext cx="7831328" cy="6115271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F30280C-BF87-1AB9-DB52-4D787F978C88}"/>
              </a:ext>
            </a:extLst>
          </p:cNvPr>
          <p:cNvSpPr txBox="1">
            <a:spLocks/>
          </p:cNvSpPr>
          <p:nvPr/>
        </p:nvSpPr>
        <p:spPr>
          <a:xfrm>
            <a:off x="611160" y="2304157"/>
            <a:ext cx="4404870" cy="4536504"/>
          </a:xfrm>
          <a:prstGeom prst="rect">
            <a:avLst/>
          </a:prstGeom>
        </p:spPr>
        <p:txBody>
          <a:bodyPr/>
          <a:lstStyle>
            <a:lvl1pPr marL="432054" indent="-432054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36117" indent="-36004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67">
                <a:solidFill>
                  <a:schemeClr val="tx1"/>
                </a:solidFill>
                <a:latin typeface="Lucida Sans" pitchFamily="34" charset="0"/>
                <a:ea typeface="+mn-ea"/>
              </a:defRPr>
            </a:lvl2pPr>
            <a:lvl3pPr marL="144018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15">
                <a:solidFill>
                  <a:schemeClr val="tx1"/>
                </a:solidFill>
                <a:latin typeface="Lucida Sans" pitchFamily="34" charset="0"/>
                <a:ea typeface="+mn-ea"/>
              </a:defRPr>
            </a:lvl3pPr>
            <a:lvl4pPr marL="196824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763">
                <a:solidFill>
                  <a:schemeClr val="tx1"/>
                </a:solidFill>
                <a:latin typeface="Lucida Sans" pitchFamily="34" charset="0"/>
                <a:ea typeface="+mn-ea"/>
              </a:defRPr>
            </a:lvl4pPr>
            <a:lvl5pPr marL="2496312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11">
                <a:solidFill>
                  <a:schemeClr val="tx1"/>
                </a:solidFill>
                <a:latin typeface="Lucida Sans" pitchFamily="34" charset="0"/>
                <a:ea typeface="+mn-ea"/>
              </a:defRPr>
            </a:lvl5pPr>
            <a:lvl6pPr marL="3072384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6pPr>
            <a:lvl7pPr marL="364845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7pPr>
            <a:lvl8pPr marL="4224528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8pPr>
            <a:lvl9pPr marL="480060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i="1" kern="0" dirty="0"/>
              <a:t>Add Collection Pop-Up:</a:t>
            </a:r>
          </a:p>
          <a:p>
            <a:endParaRPr lang="de-DE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Preset auswähl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Farbe für Collec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Anlegen eigener Presets</a:t>
            </a: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57460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Teilergebnisse 4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736109" y="1464265"/>
            <a:ext cx="7831328" cy="6115271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F30280C-BF87-1AB9-DB52-4D787F978C88}"/>
              </a:ext>
            </a:extLst>
          </p:cNvPr>
          <p:cNvSpPr txBox="1">
            <a:spLocks/>
          </p:cNvSpPr>
          <p:nvPr/>
        </p:nvSpPr>
        <p:spPr>
          <a:xfrm>
            <a:off x="611160" y="2304157"/>
            <a:ext cx="4404870" cy="4536504"/>
          </a:xfrm>
          <a:prstGeom prst="rect">
            <a:avLst/>
          </a:prstGeom>
        </p:spPr>
        <p:txBody>
          <a:bodyPr/>
          <a:lstStyle>
            <a:lvl1pPr marL="432054" indent="-432054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36117" indent="-36004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67">
                <a:solidFill>
                  <a:schemeClr val="tx1"/>
                </a:solidFill>
                <a:latin typeface="Lucida Sans" pitchFamily="34" charset="0"/>
                <a:ea typeface="+mn-ea"/>
              </a:defRPr>
            </a:lvl2pPr>
            <a:lvl3pPr marL="144018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15">
                <a:solidFill>
                  <a:schemeClr val="tx1"/>
                </a:solidFill>
                <a:latin typeface="Lucida Sans" pitchFamily="34" charset="0"/>
                <a:ea typeface="+mn-ea"/>
              </a:defRPr>
            </a:lvl3pPr>
            <a:lvl4pPr marL="196824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763">
                <a:solidFill>
                  <a:schemeClr val="tx1"/>
                </a:solidFill>
                <a:latin typeface="Lucida Sans" pitchFamily="34" charset="0"/>
                <a:ea typeface="+mn-ea"/>
              </a:defRPr>
            </a:lvl4pPr>
            <a:lvl5pPr marL="2496312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11">
                <a:solidFill>
                  <a:schemeClr val="tx1"/>
                </a:solidFill>
                <a:latin typeface="Lucida Sans" pitchFamily="34" charset="0"/>
                <a:ea typeface="+mn-ea"/>
              </a:defRPr>
            </a:lvl5pPr>
            <a:lvl6pPr marL="3072384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6pPr>
            <a:lvl7pPr marL="3648456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7pPr>
            <a:lvl8pPr marL="4224528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8pPr>
            <a:lvl9pPr marL="4800600" indent="-28803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i="1" kern="0" dirty="0"/>
              <a:t>Datenbank/Datenbanksystem:</a:t>
            </a:r>
          </a:p>
          <a:p>
            <a:endParaRPr lang="de-DE" kern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Stichwort 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Stichwort 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chemeClr val="tx1"/>
                </a:solidFill>
              </a:rPr>
              <a:t>Stichwort 3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kern="0" dirty="0">
              <a:solidFill>
                <a:schemeClr val="tx1"/>
              </a:solidFill>
            </a:endParaRP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04136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Übersicht der Tools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2567757" y="1740381"/>
            <a:ext cx="9969187" cy="560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98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Risikoanalyse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567757" y="2003405"/>
            <a:ext cx="9969187" cy="507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0269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 err="1"/>
              <a:t>Stakeholderanalyse</a:t>
            </a:r>
            <a:endParaRPr lang="de-DE" dirty="0"/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38701DFF-1F67-CA70-67FF-EF7DEBA89D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7925" y="4167188"/>
            <a:ext cx="3176736" cy="317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7C0751-5FF7-68E4-FCAC-C348B9128A4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384181" y="936005"/>
            <a:ext cx="5904656" cy="691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5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044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Blank Presentation">
  <a:themeElements>
    <a:clrScheme name="HS Mainz Wirtschaft 2">
      <a:dk1>
        <a:srgbClr val="000000"/>
      </a:dk1>
      <a:lt1>
        <a:srgbClr val="FFFFFF"/>
      </a:lt1>
      <a:dk2>
        <a:srgbClr val="797F82"/>
      </a:dk2>
      <a:lt2>
        <a:srgbClr val="9A9FA3"/>
      </a:lt2>
      <a:accent1>
        <a:srgbClr val="F49400"/>
      </a:accent1>
      <a:accent2>
        <a:srgbClr val="C47900"/>
      </a:accent2>
      <a:accent3>
        <a:srgbClr val="946006"/>
      </a:accent3>
      <a:accent4>
        <a:srgbClr val="EFAF53"/>
      </a:accent4>
      <a:accent5>
        <a:srgbClr val="F4C47E"/>
      </a:accent5>
      <a:accent6>
        <a:srgbClr val="F5EEDA"/>
      </a:accent6>
      <a:hlink>
        <a:srgbClr val="F49400"/>
      </a:hlink>
      <a:folHlink>
        <a:srgbClr val="C479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4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4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S-Mainz_PPT_deutsch_2019-01-16_Vorlage_16x9_Test" id="{5329C679-F7EC-A944-84A7-915C36E702B4}" vid="{62A1D73A-CB41-514E-B1CD-5274293D9974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Presentation</Template>
  <TotalTime>0</TotalTime>
  <Words>82</Words>
  <Application>Microsoft Office PowerPoint</Application>
  <PresentationFormat>Benutzerdefiniert</PresentationFormat>
  <Paragraphs>41</Paragraphs>
  <Slides>10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Georgia</vt:lpstr>
      <vt:lpstr>Lucida Sans</vt:lpstr>
      <vt:lpstr>Blank Pre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Simic, Darko</cp:lastModifiedBy>
  <cp:revision>1306</cp:revision>
  <cp:lastPrinted>2019-01-22T08:08:30Z</cp:lastPrinted>
  <dcterms:created xsi:type="dcterms:W3CDTF">2019-01-16T10:45:12Z</dcterms:created>
  <dcterms:modified xsi:type="dcterms:W3CDTF">2024-03-06T09:58:26Z</dcterms:modified>
</cp:coreProperties>
</file>